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7" r:id="rId4"/>
  </p:sldMasterIdLst>
  <p:notesMasterIdLst>
    <p:notesMasterId r:id="rId16"/>
  </p:notesMasterIdLst>
  <p:handoutMasterIdLst>
    <p:handoutMasterId r:id="rId17"/>
  </p:handoutMasterIdLst>
  <p:sldIdLst>
    <p:sldId id="736" r:id="rId5"/>
    <p:sldId id="257323" r:id="rId6"/>
    <p:sldId id="257388" r:id="rId7"/>
    <p:sldId id="257389" r:id="rId8"/>
    <p:sldId id="257386" r:id="rId9"/>
    <p:sldId id="257382" r:id="rId10"/>
    <p:sldId id="257391" r:id="rId11"/>
    <p:sldId id="257383" r:id="rId12"/>
    <p:sldId id="257379" r:id="rId13"/>
    <p:sldId id="752" r:id="rId14"/>
    <p:sldId id="722" r:id="rId15"/>
  </p:sldIdLst>
  <p:sldSz cx="12192000" cy="6858000"/>
  <p:notesSz cx="9296400" cy="70104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9" pos="1512" userDrawn="1">
          <p15:clr>
            <a:srgbClr val="A4A3A4"/>
          </p15:clr>
        </p15:guide>
        <p15:guide id="10" pos="6144" userDrawn="1">
          <p15:clr>
            <a:srgbClr val="A4A3A4"/>
          </p15:clr>
        </p15:guide>
        <p15:guide id="11" pos="3841" userDrawn="1">
          <p15:clr>
            <a:srgbClr val="A4A3A4"/>
          </p15:clr>
        </p15:guide>
        <p15:guide id="12" pos="2664" userDrawn="1">
          <p15:clr>
            <a:srgbClr val="A4A3A4"/>
          </p15:clr>
        </p15:guide>
        <p15:guide id="13" pos="4992" userDrawn="1">
          <p15:clr>
            <a:srgbClr val="A4A3A4"/>
          </p15:clr>
        </p15:guide>
        <p15:guide id="15" orient="horz" pos="600" userDrawn="1">
          <p15:clr>
            <a:srgbClr val="A4A3A4"/>
          </p15:clr>
        </p15:guide>
        <p15:guide id="17" orient="horz" pos="912" userDrawn="1">
          <p15:clr>
            <a:srgbClr val="A4A3A4"/>
          </p15:clr>
        </p15:guide>
        <p15:guide id="18" orient="horz" pos="1296"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rez Diaz, Karen" initials="PDK" lastIdx="3" clrIdx="0">
    <p:extLst>
      <p:ext uri="{19B8F6BF-5375-455C-9EA6-DF929625EA0E}">
        <p15:presenceInfo xmlns:p15="http://schemas.microsoft.com/office/powerpoint/2012/main" userId="S::PerezDiazK@aetna.com::17027623-4de6-4c48-9453-394c2c5804f8" providerId="AD"/>
      </p:ext>
    </p:extLst>
  </p:cmAuthor>
  <p:cmAuthor id="2" name="Oza Klanjsek" initials="OzaK" lastIdx="1" clrIdx="1">
    <p:extLst>
      <p:ext uri="{19B8F6BF-5375-455C-9EA6-DF929625EA0E}">
        <p15:presenceInfo xmlns:p15="http://schemas.microsoft.com/office/powerpoint/2012/main" userId="Oza Klanjse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78D"/>
    <a:srgbClr val="626262"/>
    <a:srgbClr val="C4C4C4"/>
    <a:srgbClr val="D997E9"/>
    <a:srgbClr val="CC0000"/>
    <a:srgbClr val="F7F7F7"/>
    <a:srgbClr val="646464"/>
    <a:srgbClr val="C0C0C0"/>
    <a:srgbClr val="E94D4D"/>
    <a:srgbClr val="F2F2F2"/>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E3A7B6-AD78-3D4F-B2CA-DD92C8C779BA}" v="16" dt="2021-09-09T16:21:44.224"/>
    <p1510:client id="{B8A62987-6FB9-40F8-84CA-0805666621D4}" v="1" dt="2021-08-05T15:35:49.197"/>
    <p1510:client id="{D1CAC03F-D28E-556A-FC26-EB7576AF4C28}" v="1" dt="2021-10-27T21:00:35.1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03" autoAdjust="0"/>
    <p:restoredTop sz="94660"/>
  </p:normalViewPr>
  <p:slideViewPr>
    <p:cSldViewPr snapToGrid="0">
      <p:cViewPr varScale="1">
        <p:scale>
          <a:sx n="93" d="100"/>
          <a:sy n="93" d="100"/>
        </p:scale>
        <p:origin x="614" y="82"/>
      </p:cViewPr>
      <p:guideLst>
        <p:guide pos="1512"/>
        <p:guide pos="6144"/>
        <p:guide pos="3841"/>
        <p:guide pos="2664"/>
        <p:guide pos="4992"/>
        <p:guide orient="horz" pos="600"/>
        <p:guide orient="horz" pos="912"/>
        <p:guide orient="horz" pos="1296"/>
      </p:guideLst>
    </p:cSldViewPr>
  </p:slideViewPr>
  <p:notesTextViewPr>
    <p:cViewPr>
      <p:scale>
        <a:sx n="1" d="1"/>
        <a:sy n="1" d="1"/>
      </p:scale>
      <p:origin x="0" y="0"/>
    </p:cViewPr>
  </p:notesTextViewPr>
  <p:notesViewPr>
    <p:cSldViewPr snapToGrid="0">
      <p:cViewPr>
        <p:scale>
          <a:sx n="1" d="2"/>
          <a:sy n="1" d="2"/>
        </p:scale>
        <p:origin x="0" y="0"/>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en Perez Diaz" userId="17027623-4de6-4c48-9453-394c2c5804f8" providerId="ADAL" clId="{503179BE-33C0-4498-B919-7809CE06ACC6}"/>
    <pc:docChg chg="modSld">
      <pc:chgData name="Karen Perez Diaz" userId="17027623-4de6-4c48-9453-394c2c5804f8" providerId="ADAL" clId="{503179BE-33C0-4498-B919-7809CE06ACC6}" dt="2021-01-14T21:48:43.184" v="121" actId="14100"/>
      <pc:docMkLst>
        <pc:docMk/>
      </pc:docMkLst>
      <pc:sldChg chg="modSp">
        <pc:chgData name="Karen Perez Diaz" userId="17027623-4de6-4c48-9453-394c2c5804f8" providerId="ADAL" clId="{503179BE-33C0-4498-B919-7809CE06ACC6}" dt="2021-01-13T21:20:09.455" v="15" actId="20577"/>
        <pc:sldMkLst>
          <pc:docMk/>
          <pc:sldMk cId="3197154609" sldId="736"/>
        </pc:sldMkLst>
        <pc:spChg chg="mod">
          <ac:chgData name="Karen Perez Diaz" userId="17027623-4de6-4c48-9453-394c2c5804f8" providerId="ADAL" clId="{503179BE-33C0-4498-B919-7809CE06ACC6}" dt="2021-01-13T21:20:09.455" v="15" actId="20577"/>
          <ac:spMkLst>
            <pc:docMk/>
            <pc:sldMk cId="3197154609" sldId="736"/>
            <ac:spMk id="3" creationId="{AF0DA26D-3B67-40C8-9676-A9B16F9FFEA9}"/>
          </ac:spMkLst>
        </pc:spChg>
      </pc:sldChg>
      <pc:sldChg chg="modSp">
        <pc:chgData name="Karen Perez Diaz" userId="17027623-4de6-4c48-9453-394c2c5804f8" providerId="ADAL" clId="{503179BE-33C0-4498-B919-7809CE06ACC6}" dt="2021-01-14T21:44:02.157" v="112" actId="20577"/>
        <pc:sldMkLst>
          <pc:docMk/>
          <pc:sldMk cId="1285900942" sldId="737"/>
        </pc:sldMkLst>
        <pc:spChg chg="mod">
          <ac:chgData name="Karen Perez Diaz" userId="17027623-4de6-4c48-9453-394c2c5804f8" providerId="ADAL" clId="{503179BE-33C0-4498-B919-7809CE06ACC6}" dt="2021-01-14T21:42:31.682" v="78" actId="1035"/>
          <ac:spMkLst>
            <pc:docMk/>
            <pc:sldMk cId="1285900942" sldId="737"/>
            <ac:spMk id="12" creationId="{05745967-7367-4DAD-B714-7E64C7F7BAA4}"/>
          </ac:spMkLst>
        </pc:spChg>
        <pc:spChg chg="mod">
          <ac:chgData name="Karen Perez Diaz" userId="17027623-4de6-4c48-9453-394c2c5804f8" providerId="ADAL" clId="{503179BE-33C0-4498-B919-7809CE06ACC6}" dt="2021-01-14T21:44:02.157" v="112" actId="20577"/>
          <ac:spMkLst>
            <pc:docMk/>
            <pc:sldMk cId="1285900942" sldId="737"/>
            <ac:spMk id="14" creationId="{05745967-7367-4DAD-B714-7E64C7F7BAA4}"/>
          </ac:spMkLst>
        </pc:spChg>
      </pc:sldChg>
      <pc:sldChg chg="modSp">
        <pc:chgData name="Karen Perez Diaz" userId="17027623-4de6-4c48-9453-394c2c5804f8" providerId="ADAL" clId="{503179BE-33C0-4498-B919-7809CE06ACC6}" dt="2021-01-14T21:48:43.184" v="121" actId="14100"/>
        <pc:sldMkLst>
          <pc:docMk/>
          <pc:sldMk cId="3216517808" sldId="738"/>
        </pc:sldMkLst>
        <pc:spChg chg="mod">
          <ac:chgData name="Karen Perez Diaz" userId="17027623-4de6-4c48-9453-394c2c5804f8" providerId="ADAL" clId="{503179BE-33C0-4498-B919-7809CE06ACC6}" dt="2021-01-14T21:48:43.184" v="121" actId="14100"/>
          <ac:spMkLst>
            <pc:docMk/>
            <pc:sldMk cId="3216517808" sldId="738"/>
            <ac:spMk id="24" creationId="{05745967-7367-4DAD-B714-7E64C7F7BAA4}"/>
          </ac:spMkLst>
        </pc:spChg>
      </pc:sldChg>
    </pc:docChg>
  </pc:docChgLst>
  <pc:docChgLst>
    <pc:chgData name="Perez Diaz, Karen" userId="17027623-4de6-4c48-9453-394c2c5804f8" providerId="ADAL" clId="{A755515F-B52D-4BFA-B575-872A5E8C9A72}"/>
    <pc:docChg chg="custSel addSld delSld modSld">
      <pc:chgData name="Perez Diaz, Karen" userId="17027623-4de6-4c48-9453-394c2c5804f8" providerId="ADAL" clId="{A755515F-B52D-4BFA-B575-872A5E8C9A72}" dt="2021-02-02T19:21:29.434" v="295" actId="6549"/>
      <pc:docMkLst>
        <pc:docMk/>
      </pc:docMkLst>
      <pc:sldChg chg="modSp">
        <pc:chgData name="Perez Diaz, Karen" userId="17027623-4de6-4c48-9453-394c2c5804f8" providerId="ADAL" clId="{A755515F-B52D-4BFA-B575-872A5E8C9A72}" dt="2021-01-28T21:11:49.594" v="1"/>
        <pc:sldMkLst>
          <pc:docMk/>
          <pc:sldMk cId="753726229" sldId="379"/>
        </pc:sldMkLst>
        <pc:spChg chg="mod">
          <ac:chgData name="Perez Diaz, Karen" userId="17027623-4de6-4c48-9453-394c2c5804f8" providerId="ADAL" clId="{A755515F-B52D-4BFA-B575-872A5E8C9A72}" dt="2021-01-28T21:11:49.594" v="1"/>
          <ac:spMkLst>
            <pc:docMk/>
            <pc:sldMk cId="753726229" sldId="379"/>
            <ac:spMk id="38" creationId="{1A443F8F-8D68-42AA-BAEE-15BC368AA565}"/>
          </ac:spMkLst>
        </pc:spChg>
      </pc:sldChg>
      <pc:sldChg chg="modSp">
        <pc:chgData name="Perez Diaz, Karen" userId="17027623-4de6-4c48-9453-394c2c5804f8" providerId="ADAL" clId="{A755515F-B52D-4BFA-B575-872A5E8C9A72}" dt="2021-02-02T19:21:29.434" v="295" actId="6549"/>
        <pc:sldMkLst>
          <pc:docMk/>
          <pc:sldMk cId="3216517808" sldId="738"/>
        </pc:sldMkLst>
        <pc:spChg chg="mod">
          <ac:chgData name="Perez Diaz, Karen" userId="17027623-4de6-4c48-9453-394c2c5804f8" providerId="ADAL" clId="{A755515F-B52D-4BFA-B575-872A5E8C9A72}" dt="2021-02-02T19:21:29.434" v="295" actId="6549"/>
          <ac:spMkLst>
            <pc:docMk/>
            <pc:sldMk cId="3216517808" sldId="738"/>
            <ac:spMk id="3" creationId="{00000000-0000-0000-0000-000000000000}"/>
          </ac:spMkLst>
        </pc:spChg>
        <pc:spChg chg="mod">
          <ac:chgData name="Perez Diaz, Karen" userId="17027623-4de6-4c48-9453-394c2c5804f8" providerId="ADAL" clId="{A755515F-B52D-4BFA-B575-872A5E8C9A72}" dt="2021-02-02T18:23:19.262" v="294" actId="14100"/>
          <ac:spMkLst>
            <pc:docMk/>
            <pc:sldMk cId="3216517808" sldId="738"/>
            <ac:spMk id="17" creationId="{05745967-7367-4DAD-B714-7E64C7F7BAA4}"/>
          </ac:spMkLst>
        </pc:spChg>
        <pc:spChg chg="mod">
          <ac:chgData name="Perez Diaz, Karen" userId="17027623-4de6-4c48-9453-394c2c5804f8" providerId="ADAL" clId="{A755515F-B52D-4BFA-B575-872A5E8C9A72}" dt="2021-01-29T15:52:28.384" v="38"/>
          <ac:spMkLst>
            <pc:docMk/>
            <pc:sldMk cId="3216517808" sldId="738"/>
            <ac:spMk id="24" creationId="{05745967-7367-4DAD-B714-7E64C7F7BAA4}"/>
          </ac:spMkLst>
        </pc:spChg>
      </pc:sldChg>
      <pc:sldChg chg="add">
        <pc:chgData name="Perez Diaz, Karen" userId="17027623-4de6-4c48-9453-394c2c5804f8" providerId="ADAL" clId="{A755515F-B52D-4BFA-B575-872A5E8C9A72}" dt="2021-01-28T22:10:47.014" v="29"/>
        <pc:sldMkLst>
          <pc:docMk/>
          <pc:sldMk cId="240251484" sldId="742"/>
        </pc:sldMkLst>
      </pc:sldChg>
      <pc:sldChg chg="addSp delSp modSp">
        <pc:chgData name="Perez Diaz, Karen" userId="17027623-4de6-4c48-9453-394c2c5804f8" providerId="ADAL" clId="{A755515F-B52D-4BFA-B575-872A5E8C9A72}" dt="2021-01-28T22:04:38.103" v="27"/>
        <pc:sldMkLst>
          <pc:docMk/>
          <pc:sldMk cId="881379272" sldId="742"/>
        </pc:sldMkLst>
        <pc:spChg chg="add del">
          <ac:chgData name="Perez Diaz, Karen" userId="17027623-4de6-4c48-9453-394c2c5804f8" providerId="ADAL" clId="{A755515F-B52D-4BFA-B575-872A5E8C9A72}" dt="2021-01-28T22:04:38.103" v="27"/>
          <ac:spMkLst>
            <pc:docMk/>
            <pc:sldMk cId="881379272" sldId="742"/>
            <ac:spMk id="53" creationId="{567E869C-1303-4F75-9CD9-3BAB12A58DCB}"/>
          </ac:spMkLst>
        </pc:spChg>
        <pc:spChg chg="add del mod">
          <ac:chgData name="Perez Diaz, Karen" userId="17027623-4de6-4c48-9453-394c2c5804f8" providerId="ADAL" clId="{A755515F-B52D-4BFA-B575-872A5E8C9A72}" dt="2021-01-28T22:04:37.703" v="26" actId="571"/>
          <ac:spMkLst>
            <pc:docMk/>
            <pc:sldMk cId="881379272" sldId="742"/>
            <ac:spMk id="54" creationId="{CFF03B76-4F6E-40A7-91E1-F1E7503D74D4}"/>
          </ac:spMkLst>
        </pc:spChg>
      </pc:sldChg>
      <pc:sldChg chg="addSp modSp">
        <pc:chgData name="Perez Diaz, Karen" userId="17027623-4de6-4c48-9453-394c2c5804f8" providerId="ADAL" clId="{A755515F-B52D-4BFA-B575-872A5E8C9A72}" dt="2021-01-28T22:04:19.386" v="21" actId="571"/>
        <pc:sldMkLst>
          <pc:docMk/>
          <pc:sldMk cId="1470794818" sldId="748"/>
        </pc:sldMkLst>
        <pc:spChg chg="add mod">
          <ac:chgData name="Perez Diaz, Karen" userId="17027623-4de6-4c48-9453-394c2c5804f8" providerId="ADAL" clId="{A755515F-B52D-4BFA-B575-872A5E8C9A72}" dt="2021-01-28T22:04:19.386" v="21" actId="571"/>
          <ac:spMkLst>
            <pc:docMk/>
            <pc:sldMk cId="1470794818" sldId="748"/>
            <ac:spMk id="73" creationId="{25539655-BE62-4D74-BCF9-DC81F748C450}"/>
          </ac:spMkLst>
        </pc:spChg>
      </pc:sldChg>
      <pc:sldChg chg="addSp delSp modSp">
        <pc:chgData name="Perez Diaz, Karen" userId="17027623-4de6-4c48-9453-394c2c5804f8" providerId="ADAL" clId="{A755515F-B52D-4BFA-B575-872A5E8C9A72}" dt="2021-02-01T20:17:43.671" v="235" actId="1076"/>
        <pc:sldMkLst>
          <pc:docMk/>
          <pc:sldMk cId="3266835802" sldId="750"/>
        </pc:sldMkLst>
        <pc:spChg chg="mod">
          <ac:chgData name="Perez Diaz, Karen" userId="17027623-4de6-4c48-9453-394c2c5804f8" providerId="ADAL" clId="{A755515F-B52D-4BFA-B575-872A5E8C9A72}" dt="2021-01-28T21:46:04.456" v="8" actId="164"/>
          <ac:spMkLst>
            <pc:docMk/>
            <pc:sldMk cId="3266835802" sldId="750"/>
            <ac:spMk id="6" creationId="{46EE6365-81AD-4FCA-A5B9-4F4D0C586289}"/>
          </ac:spMkLst>
        </pc:spChg>
        <pc:spChg chg="mod">
          <ac:chgData name="Perez Diaz, Karen" userId="17027623-4de6-4c48-9453-394c2c5804f8" providerId="ADAL" clId="{A755515F-B52D-4BFA-B575-872A5E8C9A72}" dt="2021-01-28T21:46:04.456" v="8" actId="164"/>
          <ac:spMkLst>
            <pc:docMk/>
            <pc:sldMk cId="3266835802" sldId="750"/>
            <ac:spMk id="7" creationId="{CBBEE985-DFA9-4335-84E8-9CC49B0EB534}"/>
          </ac:spMkLst>
        </pc:spChg>
        <pc:spChg chg="mod">
          <ac:chgData name="Perez Diaz, Karen" userId="17027623-4de6-4c48-9453-394c2c5804f8" providerId="ADAL" clId="{A755515F-B52D-4BFA-B575-872A5E8C9A72}" dt="2021-01-28T21:46:04.456" v="8" actId="164"/>
          <ac:spMkLst>
            <pc:docMk/>
            <pc:sldMk cId="3266835802" sldId="750"/>
            <ac:spMk id="8" creationId="{0AEC7480-7499-442D-9B7F-9286FAFB0818}"/>
          </ac:spMkLst>
        </pc:spChg>
        <pc:spChg chg="mod">
          <ac:chgData name="Perez Diaz, Karen" userId="17027623-4de6-4c48-9453-394c2c5804f8" providerId="ADAL" clId="{A755515F-B52D-4BFA-B575-872A5E8C9A72}" dt="2021-01-28T21:46:04.456" v="8" actId="164"/>
          <ac:spMkLst>
            <pc:docMk/>
            <pc:sldMk cId="3266835802" sldId="750"/>
            <ac:spMk id="9" creationId="{AD31964D-E5E9-49A2-B1C4-DFCAC54C0BAF}"/>
          </ac:spMkLst>
        </pc:spChg>
        <pc:spChg chg="mod">
          <ac:chgData name="Perez Diaz, Karen" userId="17027623-4de6-4c48-9453-394c2c5804f8" providerId="ADAL" clId="{A755515F-B52D-4BFA-B575-872A5E8C9A72}" dt="2021-01-28T21:46:04.456" v="8" actId="164"/>
          <ac:spMkLst>
            <pc:docMk/>
            <pc:sldMk cId="3266835802" sldId="750"/>
            <ac:spMk id="10" creationId="{EE9C9ED5-ABCE-4FDB-86CF-FDFC75DD74BD}"/>
          </ac:spMkLst>
        </pc:spChg>
        <pc:spChg chg="mod">
          <ac:chgData name="Perez Diaz, Karen" userId="17027623-4de6-4c48-9453-394c2c5804f8" providerId="ADAL" clId="{A755515F-B52D-4BFA-B575-872A5E8C9A72}" dt="2021-01-28T21:46:25.393" v="11" actId="164"/>
          <ac:spMkLst>
            <pc:docMk/>
            <pc:sldMk cId="3266835802" sldId="750"/>
            <ac:spMk id="12" creationId="{FE80D894-D049-4249-89C3-2CB429A7EF23}"/>
          </ac:spMkLst>
        </pc:spChg>
        <pc:spChg chg="mod">
          <ac:chgData name="Perez Diaz, Karen" userId="17027623-4de6-4c48-9453-394c2c5804f8" providerId="ADAL" clId="{A755515F-B52D-4BFA-B575-872A5E8C9A72}" dt="2021-01-28T21:46:25.393" v="11" actId="164"/>
          <ac:spMkLst>
            <pc:docMk/>
            <pc:sldMk cId="3266835802" sldId="750"/>
            <ac:spMk id="14" creationId="{F6B3E33B-279A-4B57-A0C7-AFD4CB2BA78F}"/>
          </ac:spMkLst>
        </pc:spChg>
        <pc:spChg chg="mod topLvl">
          <ac:chgData name="Perez Diaz, Karen" userId="17027623-4de6-4c48-9453-394c2c5804f8" providerId="ADAL" clId="{A755515F-B52D-4BFA-B575-872A5E8C9A72}" dt="2021-01-28T21:30:33.499" v="5" actId="165"/>
          <ac:spMkLst>
            <pc:docMk/>
            <pc:sldMk cId="3266835802" sldId="750"/>
            <ac:spMk id="16" creationId="{0A6DB9FC-2790-49F5-96BC-671A635F376F}"/>
          </ac:spMkLst>
        </pc:spChg>
        <pc:spChg chg="mod topLvl">
          <ac:chgData name="Perez Diaz, Karen" userId="17027623-4de6-4c48-9453-394c2c5804f8" providerId="ADAL" clId="{A755515F-B52D-4BFA-B575-872A5E8C9A72}" dt="2021-01-28T21:30:33.499" v="5" actId="165"/>
          <ac:spMkLst>
            <pc:docMk/>
            <pc:sldMk cId="3266835802" sldId="750"/>
            <ac:spMk id="32" creationId="{C23CAF40-5081-4672-BB4F-CE5D10092D0A}"/>
          </ac:spMkLst>
        </pc:spChg>
        <pc:spChg chg="mod topLvl">
          <ac:chgData name="Perez Diaz, Karen" userId="17027623-4de6-4c48-9453-394c2c5804f8" providerId="ADAL" clId="{A755515F-B52D-4BFA-B575-872A5E8C9A72}" dt="2021-01-28T21:30:33.499" v="5" actId="165"/>
          <ac:spMkLst>
            <pc:docMk/>
            <pc:sldMk cId="3266835802" sldId="750"/>
            <ac:spMk id="33" creationId="{EA2C1C74-8715-4291-B19D-B1A652C9088A}"/>
          </ac:spMkLst>
        </pc:spChg>
        <pc:spChg chg="del mod topLvl">
          <ac:chgData name="Perez Diaz, Karen" userId="17027623-4de6-4c48-9453-394c2c5804f8" providerId="ADAL" clId="{A755515F-B52D-4BFA-B575-872A5E8C9A72}" dt="2021-02-01T19:52:39.798" v="97" actId="478"/>
          <ac:spMkLst>
            <pc:docMk/>
            <pc:sldMk cId="3266835802" sldId="750"/>
            <ac:spMk id="34" creationId="{382E8A01-BEF3-48DC-8ADF-624A68CB482B}"/>
          </ac:spMkLst>
        </pc:spChg>
        <pc:spChg chg="mod">
          <ac:chgData name="Perez Diaz, Karen" userId="17027623-4de6-4c48-9453-394c2c5804f8" providerId="ADAL" clId="{A755515F-B52D-4BFA-B575-872A5E8C9A72}" dt="2021-01-28T21:46:04.456" v="8" actId="164"/>
          <ac:spMkLst>
            <pc:docMk/>
            <pc:sldMk cId="3266835802" sldId="750"/>
            <ac:spMk id="36" creationId="{B1C07FB1-E4F7-46B0-9153-B6C0A2878CC2}"/>
          </ac:spMkLst>
        </pc:spChg>
        <pc:spChg chg="mod topLvl">
          <ac:chgData name="Perez Diaz, Karen" userId="17027623-4de6-4c48-9453-394c2c5804f8" providerId="ADAL" clId="{A755515F-B52D-4BFA-B575-872A5E8C9A72}" dt="2021-01-28T21:30:33.499" v="5" actId="165"/>
          <ac:spMkLst>
            <pc:docMk/>
            <pc:sldMk cId="3266835802" sldId="750"/>
            <ac:spMk id="45" creationId="{3343FEFB-7C1D-4798-BA26-F401C7045C50}"/>
          </ac:spMkLst>
        </pc:spChg>
        <pc:spChg chg="mod topLvl">
          <ac:chgData name="Perez Diaz, Karen" userId="17027623-4de6-4c48-9453-394c2c5804f8" providerId="ADAL" clId="{A755515F-B52D-4BFA-B575-872A5E8C9A72}" dt="2021-01-28T21:30:33.499" v="5" actId="165"/>
          <ac:spMkLst>
            <pc:docMk/>
            <pc:sldMk cId="3266835802" sldId="750"/>
            <ac:spMk id="50" creationId="{75207217-91AF-4E8B-A9E8-A32EC790D29A}"/>
          </ac:spMkLst>
        </pc:spChg>
        <pc:spChg chg="add del">
          <ac:chgData name="Perez Diaz, Karen" userId="17027623-4de6-4c48-9453-394c2c5804f8" providerId="ADAL" clId="{A755515F-B52D-4BFA-B575-872A5E8C9A72}" dt="2021-02-01T20:16:42.966" v="193" actId="478"/>
          <ac:spMkLst>
            <pc:docMk/>
            <pc:sldMk cId="3266835802" sldId="750"/>
            <ac:spMk id="66" creationId="{743F78C0-3B08-4C48-B8C6-5AEFFF5F238F}"/>
          </ac:spMkLst>
        </pc:spChg>
        <pc:spChg chg="add del">
          <ac:chgData name="Perez Diaz, Karen" userId="17027623-4de6-4c48-9453-394c2c5804f8" providerId="ADAL" clId="{A755515F-B52D-4BFA-B575-872A5E8C9A72}" dt="2021-02-01T20:16:42.966" v="193" actId="478"/>
          <ac:spMkLst>
            <pc:docMk/>
            <pc:sldMk cId="3266835802" sldId="750"/>
            <ac:spMk id="67" creationId="{44C8F57B-1CBF-42FE-A20A-3BAFDA41B9C7}"/>
          </ac:spMkLst>
        </pc:spChg>
        <pc:spChg chg="add">
          <ac:chgData name="Perez Diaz, Karen" userId="17027623-4de6-4c48-9453-394c2c5804f8" providerId="ADAL" clId="{A755515F-B52D-4BFA-B575-872A5E8C9A72}" dt="2021-02-01T20:16:43.498" v="194"/>
          <ac:spMkLst>
            <pc:docMk/>
            <pc:sldMk cId="3266835802" sldId="750"/>
            <ac:spMk id="68" creationId="{16EA6BED-2D6C-4E30-8266-02246F4EC26E}"/>
          </ac:spMkLst>
        </pc:spChg>
        <pc:spChg chg="mod topLvl">
          <ac:chgData name="Perez Diaz, Karen" userId="17027623-4de6-4c48-9453-394c2c5804f8" providerId="ADAL" clId="{A755515F-B52D-4BFA-B575-872A5E8C9A72}" dt="2021-01-28T21:30:33.499" v="5" actId="165"/>
          <ac:spMkLst>
            <pc:docMk/>
            <pc:sldMk cId="3266835802" sldId="750"/>
            <ac:spMk id="69" creationId="{D660A072-DFBB-4936-95BF-01DEE4F7CF2D}"/>
          </ac:spMkLst>
        </pc:spChg>
        <pc:spChg chg="add">
          <ac:chgData name="Perez Diaz, Karen" userId="17027623-4de6-4c48-9453-394c2c5804f8" providerId="ADAL" clId="{A755515F-B52D-4BFA-B575-872A5E8C9A72}" dt="2021-02-01T20:16:43.498" v="194"/>
          <ac:spMkLst>
            <pc:docMk/>
            <pc:sldMk cId="3266835802" sldId="750"/>
            <ac:spMk id="70" creationId="{2832328B-95D4-4F45-862C-4F5C29649A9E}"/>
          </ac:spMkLst>
        </pc:spChg>
        <pc:spChg chg="add">
          <ac:chgData name="Perez Diaz, Karen" userId="17027623-4de6-4c48-9453-394c2c5804f8" providerId="ADAL" clId="{A755515F-B52D-4BFA-B575-872A5E8C9A72}" dt="2021-01-28T21:26:22.382" v="3"/>
          <ac:spMkLst>
            <pc:docMk/>
            <pc:sldMk cId="3266835802" sldId="750"/>
            <ac:spMk id="83" creationId="{D5DDF7CE-397E-46B2-B66C-4EA06546A479}"/>
          </ac:spMkLst>
        </pc:spChg>
        <pc:spChg chg="add">
          <ac:chgData name="Perez Diaz, Karen" userId="17027623-4de6-4c48-9453-394c2c5804f8" providerId="ADAL" clId="{A755515F-B52D-4BFA-B575-872A5E8C9A72}" dt="2021-01-28T21:26:22.382" v="3"/>
          <ac:spMkLst>
            <pc:docMk/>
            <pc:sldMk cId="3266835802" sldId="750"/>
            <ac:spMk id="84" creationId="{F9FC18E3-4FC7-4F15-9A05-D568A39645CA}"/>
          </ac:spMkLst>
        </pc:spChg>
        <pc:spChg chg="add">
          <ac:chgData name="Perez Diaz, Karen" userId="17027623-4de6-4c48-9453-394c2c5804f8" providerId="ADAL" clId="{A755515F-B52D-4BFA-B575-872A5E8C9A72}" dt="2021-01-28T21:26:22.382" v="3"/>
          <ac:spMkLst>
            <pc:docMk/>
            <pc:sldMk cId="3266835802" sldId="750"/>
            <ac:spMk id="85" creationId="{0ED3C1F7-D5E5-4BCA-AF01-DAE5DF068C84}"/>
          </ac:spMkLst>
        </pc:spChg>
        <pc:spChg chg="add">
          <ac:chgData name="Perez Diaz, Karen" userId="17027623-4de6-4c48-9453-394c2c5804f8" providerId="ADAL" clId="{A755515F-B52D-4BFA-B575-872A5E8C9A72}" dt="2021-01-28T21:26:22.382" v="3"/>
          <ac:spMkLst>
            <pc:docMk/>
            <pc:sldMk cId="3266835802" sldId="750"/>
            <ac:spMk id="86" creationId="{3C48546E-0764-4FC6-9E2A-20B6C6BA914A}"/>
          </ac:spMkLst>
        </pc:spChg>
        <pc:spChg chg="add mod">
          <ac:chgData name="Perez Diaz, Karen" userId="17027623-4de6-4c48-9453-394c2c5804f8" providerId="ADAL" clId="{A755515F-B52D-4BFA-B575-872A5E8C9A72}" dt="2021-01-28T21:44:10.994" v="7" actId="571"/>
          <ac:spMkLst>
            <pc:docMk/>
            <pc:sldMk cId="3266835802" sldId="750"/>
            <ac:spMk id="98" creationId="{5B69AA66-0CEA-4C45-96B4-F2A8DD5B6FB2}"/>
          </ac:spMkLst>
        </pc:spChg>
        <pc:spChg chg="add del">
          <ac:chgData name="Perez Diaz, Karen" userId="17027623-4de6-4c48-9453-394c2c5804f8" providerId="ADAL" clId="{A755515F-B52D-4BFA-B575-872A5E8C9A72}" dt="2021-01-28T21:46:18.588" v="10"/>
          <ac:spMkLst>
            <pc:docMk/>
            <pc:sldMk cId="3266835802" sldId="750"/>
            <ac:spMk id="103" creationId="{57ADC561-FD6C-4670-ADCC-DA9C75065A95}"/>
          </ac:spMkLst>
        </pc:spChg>
        <pc:spChg chg="add del">
          <ac:chgData name="Perez Diaz, Karen" userId="17027623-4de6-4c48-9453-394c2c5804f8" providerId="ADAL" clId="{A755515F-B52D-4BFA-B575-872A5E8C9A72}" dt="2021-01-28T21:46:18.588" v="10"/>
          <ac:spMkLst>
            <pc:docMk/>
            <pc:sldMk cId="3266835802" sldId="750"/>
            <ac:spMk id="104" creationId="{35C86A2C-680A-4BCA-98CD-EB3D5DF84B8E}"/>
          </ac:spMkLst>
        </pc:spChg>
        <pc:spChg chg="add mod">
          <ac:chgData name="Perez Diaz, Karen" userId="17027623-4de6-4c48-9453-394c2c5804f8" providerId="ADAL" clId="{A755515F-B52D-4BFA-B575-872A5E8C9A72}" dt="2021-02-01T20:17:43.671" v="235" actId="1076"/>
          <ac:spMkLst>
            <pc:docMk/>
            <pc:sldMk cId="3266835802" sldId="750"/>
            <ac:spMk id="175" creationId="{3859F0A8-9599-4070-90DE-20D3E04792D8}"/>
          </ac:spMkLst>
        </pc:spChg>
        <pc:spChg chg="add mod">
          <ac:chgData name="Perez Diaz, Karen" userId="17027623-4de6-4c48-9453-394c2c5804f8" providerId="ADAL" clId="{A755515F-B52D-4BFA-B575-872A5E8C9A72}" dt="2021-02-01T20:16:46.607" v="195" actId="14100"/>
          <ac:spMkLst>
            <pc:docMk/>
            <pc:sldMk cId="3266835802" sldId="750"/>
            <ac:spMk id="202" creationId="{B5CA336B-A1BF-4871-8150-E9B291B6724C}"/>
          </ac:spMkLst>
        </pc:spChg>
        <pc:grpChg chg="del">
          <ac:chgData name="Perez Diaz, Karen" userId="17027623-4de6-4c48-9453-394c2c5804f8" providerId="ADAL" clId="{A755515F-B52D-4BFA-B575-872A5E8C9A72}" dt="2021-01-28T21:30:33.499" v="5" actId="165"/>
          <ac:grpSpMkLst>
            <pc:docMk/>
            <pc:sldMk cId="3266835802" sldId="750"/>
            <ac:grpSpMk id="21" creationId="{9D6DA8C5-2116-432C-BA28-25EE6D29583D}"/>
          </ac:grpSpMkLst>
        </pc:grpChg>
        <pc:grpChg chg="del mod topLvl">
          <ac:chgData name="Perez Diaz, Karen" userId="17027623-4de6-4c48-9453-394c2c5804f8" providerId="ADAL" clId="{A755515F-B52D-4BFA-B575-872A5E8C9A72}" dt="2021-02-01T19:52:39.798" v="97" actId="478"/>
          <ac:grpSpMkLst>
            <pc:docMk/>
            <pc:sldMk cId="3266835802" sldId="750"/>
            <ac:grpSpMk id="26" creationId="{899AB3C6-D04B-467B-80AD-71290C5FD607}"/>
          </ac:grpSpMkLst>
        </pc:grpChg>
        <pc:grpChg chg="add mod">
          <ac:chgData name="Perez Diaz, Karen" userId="17027623-4de6-4c48-9453-394c2c5804f8" providerId="ADAL" clId="{A755515F-B52D-4BFA-B575-872A5E8C9A72}" dt="2021-01-28T21:46:25.393" v="11" actId="164"/>
          <ac:grpSpMkLst>
            <pc:docMk/>
            <pc:sldMk cId="3266835802" sldId="750"/>
            <ac:grpSpMk id="44" creationId="{309C656C-07A6-4CB9-A6F1-98F2437FD1D2}"/>
          </ac:grpSpMkLst>
        </pc:grpChg>
        <pc:grpChg chg="add mod">
          <ac:chgData name="Perez Diaz, Karen" userId="17027623-4de6-4c48-9453-394c2c5804f8" providerId="ADAL" clId="{A755515F-B52D-4BFA-B575-872A5E8C9A72}" dt="2021-01-28T21:46:25.393" v="11" actId="164"/>
          <ac:grpSpMkLst>
            <pc:docMk/>
            <pc:sldMk cId="3266835802" sldId="750"/>
            <ac:grpSpMk id="46" creationId="{29DC4481-8BE0-409E-BF4B-E164188DC5BC}"/>
          </ac:grpSpMkLst>
        </pc:grpChg>
        <pc:grpChg chg="mod topLvl">
          <ac:chgData name="Perez Diaz, Karen" userId="17027623-4de6-4c48-9453-394c2c5804f8" providerId="ADAL" clId="{A755515F-B52D-4BFA-B575-872A5E8C9A72}" dt="2021-01-28T21:30:33.499" v="5" actId="165"/>
          <ac:grpSpMkLst>
            <pc:docMk/>
            <pc:sldMk cId="3266835802" sldId="750"/>
            <ac:grpSpMk id="59" creationId="{C41B3DFB-F3AE-4D87-9B8C-C3589EDBC3BF}"/>
          </ac:grpSpMkLst>
        </pc:grpChg>
        <pc:grpChg chg="add del mod">
          <ac:chgData name="Perez Diaz, Karen" userId="17027623-4de6-4c48-9453-394c2c5804f8" providerId="ADAL" clId="{A755515F-B52D-4BFA-B575-872A5E8C9A72}" dt="2021-01-28T21:46:18.588" v="10"/>
          <ac:grpSpMkLst>
            <pc:docMk/>
            <pc:sldMk cId="3266835802" sldId="750"/>
            <ac:grpSpMk id="127" creationId="{FE9ADD5D-914F-4598-92E6-BE9E2E231C82}"/>
          </ac:grpSpMkLst>
        </pc:grpChg>
        <pc:grpChg chg="add del mod">
          <ac:chgData name="Perez Diaz, Karen" userId="17027623-4de6-4c48-9453-394c2c5804f8" providerId="ADAL" clId="{A755515F-B52D-4BFA-B575-872A5E8C9A72}" dt="2021-01-28T21:46:35.203" v="13"/>
          <ac:grpSpMkLst>
            <pc:docMk/>
            <pc:sldMk cId="3266835802" sldId="750"/>
            <ac:grpSpMk id="131" creationId="{FA8A9099-1E3E-423F-B713-239DC0E3BD6B}"/>
          </ac:grpSpMkLst>
        </pc:grpChg>
        <pc:grpChg chg="mod">
          <ac:chgData name="Perez Diaz, Karen" userId="17027623-4de6-4c48-9453-394c2c5804f8" providerId="ADAL" clId="{A755515F-B52D-4BFA-B575-872A5E8C9A72}" dt="2021-01-28T21:46:27.223" v="12"/>
          <ac:grpSpMkLst>
            <pc:docMk/>
            <pc:sldMk cId="3266835802" sldId="750"/>
            <ac:grpSpMk id="137" creationId="{8C1CB67B-4E9B-415C-A561-51DCB2A1FAD5}"/>
          </ac:grpSpMkLst>
        </pc:grpChg>
        <pc:grpChg chg="mod">
          <ac:chgData name="Perez Diaz, Karen" userId="17027623-4de6-4c48-9453-394c2c5804f8" providerId="ADAL" clId="{A755515F-B52D-4BFA-B575-872A5E8C9A72}" dt="2021-01-28T21:46:27.223" v="12"/>
          <ac:grpSpMkLst>
            <pc:docMk/>
            <pc:sldMk cId="3266835802" sldId="750"/>
            <ac:grpSpMk id="140" creationId="{5A01FE0F-BF6F-4EAE-8673-F7FFC0F0E46D}"/>
          </ac:grpSpMkLst>
        </pc:grpChg>
        <pc:grpChg chg="add mod">
          <ac:chgData name="Perez Diaz, Karen" userId="17027623-4de6-4c48-9453-394c2c5804f8" providerId="ADAL" clId="{A755515F-B52D-4BFA-B575-872A5E8C9A72}" dt="2021-01-28T21:46:38.543" v="14"/>
          <ac:grpSpMkLst>
            <pc:docMk/>
            <pc:sldMk cId="3266835802" sldId="750"/>
            <ac:grpSpMk id="150" creationId="{BB52C84E-B598-4330-992D-62D2F219AAD5}"/>
          </ac:grpSpMkLst>
        </pc:grpChg>
        <pc:grpChg chg="mod">
          <ac:chgData name="Perez Diaz, Karen" userId="17027623-4de6-4c48-9453-394c2c5804f8" providerId="ADAL" clId="{A755515F-B52D-4BFA-B575-872A5E8C9A72}" dt="2021-01-28T21:46:38.543" v="14"/>
          <ac:grpSpMkLst>
            <pc:docMk/>
            <pc:sldMk cId="3266835802" sldId="750"/>
            <ac:grpSpMk id="156" creationId="{0C64742B-27AD-4923-8FF7-8C15DDA3E47C}"/>
          </ac:grpSpMkLst>
        </pc:grpChg>
        <pc:grpChg chg="mod">
          <ac:chgData name="Perez Diaz, Karen" userId="17027623-4de6-4c48-9453-394c2c5804f8" providerId="ADAL" clId="{A755515F-B52D-4BFA-B575-872A5E8C9A72}" dt="2021-01-28T21:46:38.543" v="14"/>
          <ac:grpSpMkLst>
            <pc:docMk/>
            <pc:sldMk cId="3266835802" sldId="750"/>
            <ac:grpSpMk id="159" creationId="{D86746B5-70FB-401B-9464-11D1B394AE1D}"/>
          </ac:grpSpMkLst>
        </pc:grpChg>
        <pc:grpChg chg="add del">
          <ac:chgData name="Perez Diaz, Karen" userId="17027623-4de6-4c48-9453-394c2c5804f8" providerId="ADAL" clId="{A755515F-B52D-4BFA-B575-872A5E8C9A72}" dt="2021-01-28T22:03:56.687" v="19"/>
          <ac:grpSpMkLst>
            <pc:docMk/>
            <pc:sldMk cId="3266835802" sldId="750"/>
            <ac:grpSpMk id="182" creationId="{2C8B922A-F618-477F-BABE-45DDE66072E2}"/>
          </ac:grpSpMkLst>
        </pc:grpChg>
        <pc:grpChg chg="mod">
          <ac:chgData name="Perez Diaz, Karen" userId="17027623-4de6-4c48-9453-394c2c5804f8" providerId="ADAL" clId="{A755515F-B52D-4BFA-B575-872A5E8C9A72}" dt="2021-01-28T21:46:25.393" v="11" actId="164"/>
          <ac:grpSpMkLst>
            <pc:docMk/>
            <pc:sldMk cId="3266835802" sldId="750"/>
            <ac:grpSpMk id="217" creationId="{9E5C4412-7EC4-487F-854E-0A306D3FA7D8}"/>
          </ac:grpSpMkLst>
        </pc:grpChg>
        <pc:cxnChg chg="mod">
          <ac:chgData name="Perez Diaz, Karen" userId="17027623-4de6-4c48-9453-394c2c5804f8" providerId="ADAL" clId="{A755515F-B52D-4BFA-B575-872A5E8C9A72}" dt="2021-01-28T21:46:25.393" v="11" actId="164"/>
          <ac:cxnSpMkLst>
            <pc:docMk/>
            <pc:sldMk cId="3266835802" sldId="750"/>
            <ac:cxnSpMk id="20" creationId="{348D7C3F-B83C-43A8-9D28-CCC9C4BBB069}"/>
          </ac:cxnSpMkLst>
        </pc:cxnChg>
        <pc:cxnChg chg="mod">
          <ac:chgData name="Perez Diaz, Karen" userId="17027623-4de6-4c48-9453-394c2c5804f8" providerId="ADAL" clId="{A755515F-B52D-4BFA-B575-872A5E8C9A72}" dt="2021-01-28T21:46:25.393" v="11" actId="164"/>
          <ac:cxnSpMkLst>
            <pc:docMk/>
            <pc:sldMk cId="3266835802" sldId="750"/>
            <ac:cxnSpMk id="25" creationId="{0FD92F1F-404B-4B75-922F-DC7CBDD99712}"/>
          </ac:cxnSpMkLst>
        </pc:cxnChg>
        <pc:cxnChg chg="mod">
          <ac:chgData name="Perez Diaz, Karen" userId="17027623-4de6-4c48-9453-394c2c5804f8" providerId="ADAL" clId="{A755515F-B52D-4BFA-B575-872A5E8C9A72}" dt="2021-01-28T21:46:25.393" v="11" actId="164"/>
          <ac:cxnSpMkLst>
            <pc:docMk/>
            <pc:sldMk cId="3266835802" sldId="750"/>
            <ac:cxnSpMk id="27" creationId="{241AE13A-CC4B-4DEF-B58D-790536D65968}"/>
          </ac:cxnSpMkLst>
        </pc:cxnChg>
        <pc:cxnChg chg="mod">
          <ac:chgData name="Perez Diaz, Karen" userId="17027623-4de6-4c48-9453-394c2c5804f8" providerId="ADAL" clId="{A755515F-B52D-4BFA-B575-872A5E8C9A72}" dt="2021-01-28T21:46:25.393" v="11" actId="164"/>
          <ac:cxnSpMkLst>
            <pc:docMk/>
            <pc:sldMk cId="3266835802" sldId="750"/>
            <ac:cxnSpMk id="31" creationId="{8FEF314A-9932-4F10-8E0C-6B6DF5F71CD9}"/>
          </ac:cxnSpMkLst>
        </pc:cxnChg>
        <pc:cxnChg chg="del mod">
          <ac:chgData name="Perez Diaz, Karen" userId="17027623-4de6-4c48-9453-394c2c5804f8" providerId="ADAL" clId="{A755515F-B52D-4BFA-B575-872A5E8C9A72}" dt="2021-02-01T19:52:42.098" v="98" actId="478"/>
          <ac:cxnSpMkLst>
            <pc:docMk/>
            <pc:sldMk cId="3266835802" sldId="750"/>
            <ac:cxnSpMk id="52" creationId="{9A801628-898B-4840-8337-E3F4FCEE2F10}"/>
          </ac:cxnSpMkLst>
        </pc:cxnChg>
        <pc:cxnChg chg="add del mod">
          <ac:chgData name="Perez Diaz, Karen" userId="17027623-4de6-4c48-9453-394c2c5804f8" providerId="ADAL" clId="{A755515F-B52D-4BFA-B575-872A5E8C9A72}" dt="2021-02-01T20:16:42.966" v="193" actId="478"/>
          <ac:cxnSpMkLst>
            <pc:docMk/>
            <pc:sldMk cId="3266835802" sldId="750"/>
            <ac:cxnSpMk id="64" creationId="{97596D6F-24DD-49DF-BD5A-D934D3224C3A}"/>
          </ac:cxnSpMkLst>
        </pc:cxnChg>
        <pc:cxnChg chg="mod">
          <ac:chgData name="Perez Diaz, Karen" userId="17027623-4de6-4c48-9453-394c2c5804f8" providerId="ADAL" clId="{A755515F-B52D-4BFA-B575-872A5E8C9A72}" dt="2021-01-28T21:46:25.393" v="11" actId="164"/>
          <ac:cxnSpMkLst>
            <pc:docMk/>
            <pc:sldMk cId="3266835802" sldId="750"/>
            <ac:cxnSpMk id="65" creationId="{9F79DEE4-32EB-4954-BB88-47EAFD90F0F2}"/>
          </ac:cxnSpMkLst>
        </pc:cxnChg>
        <pc:cxnChg chg="add">
          <ac:chgData name="Perez Diaz, Karen" userId="17027623-4de6-4c48-9453-394c2c5804f8" providerId="ADAL" clId="{A755515F-B52D-4BFA-B575-872A5E8C9A72}" dt="2021-02-01T20:16:43.498" v="194"/>
          <ac:cxnSpMkLst>
            <pc:docMk/>
            <pc:sldMk cId="3266835802" sldId="750"/>
            <ac:cxnSpMk id="69" creationId="{6A83FA19-9E8A-45B3-B06B-3B6E6E7C4B63}"/>
          </ac:cxnSpMkLst>
        </pc:cxnChg>
        <pc:cxnChg chg="add">
          <ac:chgData name="Perez Diaz, Karen" userId="17027623-4de6-4c48-9453-394c2c5804f8" providerId="ADAL" clId="{A755515F-B52D-4BFA-B575-872A5E8C9A72}" dt="2021-01-28T21:26:50.179" v="4"/>
          <ac:cxnSpMkLst>
            <pc:docMk/>
            <pc:sldMk cId="3266835802" sldId="750"/>
            <ac:cxnSpMk id="87" creationId="{61460927-6BA0-4FD7-8EF2-8710CEB07E58}"/>
          </ac:cxnSpMkLst>
        </pc:cxnChg>
        <pc:cxnChg chg="add">
          <ac:chgData name="Perez Diaz, Karen" userId="17027623-4de6-4c48-9453-394c2c5804f8" providerId="ADAL" clId="{A755515F-B52D-4BFA-B575-872A5E8C9A72}" dt="2021-01-28T21:26:50.179" v="4"/>
          <ac:cxnSpMkLst>
            <pc:docMk/>
            <pc:sldMk cId="3266835802" sldId="750"/>
            <ac:cxnSpMk id="88" creationId="{0BBB2A7E-A704-4631-97DE-22F838C39143}"/>
          </ac:cxnSpMkLst>
        </pc:cxnChg>
        <pc:cxnChg chg="add mod">
          <ac:chgData name="Perez Diaz, Karen" userId="17027623-4de6-4c48-9453-394c2c5804f8" providerId="ADAL" clId="{A755515F-B52D-4BFA-B575-872A5E8C9A72}" dt="2021-01-28T21:51:10.269" v="16" actId="11529"/>
          <ac:cxnSpMkLst>
            <pc:docMk/>
            <pc:sldMk cId="3266835802" sldId="750"/>
            <ac:cxnSpMk id="90" creationId="{B62C4502-AC81-4B5C-B201-F71E51274206}"/>
          </ac:cxnSpMkLst>
        </pc:cxnChg>
        <pc:cxnChg chg="add del">
          <ac:chgData name="Perez Diaz, Karen" userId="17027623-4de6-4c48-9453-394c2c5804f8" providerId="ADAL" clId="{A755515F-B52D-4BFA-B575-872A5E8C9A72}" dt="2021-01-28T21:46:18.588" v="10"/>
          <ac:cxnSpMkLst>
            <pc:docMk/>
            <pc:sldMk cId="3266835802" sldId="750"/>
            <ac:cxnSpMk id="122" creationId="{BA5BC009-5BEC-432A-8E16-360116C45D0C}"/>
          </ac:cxnSpMkLst>
        </pc:cxnChg>
        <pc:cxnChg chg="add del">
          <ac:chgData name="Perez Diaz, Karen" userId="17027623-4de6-4c48-9453-394c2c5804f8" providerId="ADAL" clId="{A755515F-B52D-4BFA-B575-872A5E8C9A72}" dt="2021-01-28T21:46:18.588" v="10"/>
          <ac:cxnSpMkLst>
            <pc:docMk/>
            <pc:sldMk cId="3266835802" sldId="750"/>
            <ac:cxnSpMk id="123" creationId="{9A6C7A37-754D-4981-8696-94D804380812}"/>
          </ac:cxnSpMkLst>
        </pc:cxnChg>
        <pc:cxnChg chg="add del">
          <ac:chgData name="Perez Diaz, Karen" userId="17027623-4de6-4c48-9453-394c2c5804f8" providerId="ADAL" clId="{A755515F-B52D-4BFA-B575-872A5E8C9A72}" dt="2021-01-28T21:46:18.588" v="10"/>
          <ac:cxnSpMkLst>
            <pc:docMk/>
            <pc:sldMk cId="3266835802" sldId="750"/>
            <ac:cxnSpMk id="124" creationId="{64D98605-D3D8-4C9B-A828-308E77E02EEE}"/>
          </ac:cxnSpMkLst>
        </pc:cxnChg>
        <pc:cxnChg chg="add del">
          <ac:chgData name="Perez Diaz, Karen" userId="17027623-4de6-4c48-9453-394c2c5804f8" providerId="ADAL" clId="{A755515F-B52D-4BFA-B575-872A5E8C9A72}" dt="2021-01-28T21:46:18.588" v="10"/>
          <ac:cxnSpMkLst>
            <pc:docMk/>
            <pc:sldMk cId="3266835802" sldId="750"/>
            <ac:cxnSpMk id="125" creationId="{4F86E99C-BA83-4B4C-B86C-16EDDD94D49F}"/>
          </ac:cxnSpMkLst>
        </pc:cxnChg>
        <pc:cxnChg chg="add del">
          <ac:chgData name="Perez Diaz, Karen" userId="17027623-4de6-4c48-9453-394c2c5804f8" providerId="ADAL" clId="{A755515F-B52D-4BFA-B575-872A5E8C9A72}" dt="2021-01-28T21:46:18.588" v="10"/>
          <ac:cxnSpMkLst>
            <pc:docMk/>
            <pc:sldMk cId="3266835802" sldId="750"/>
            <ac:cxnSpMk id="126" creationId="{056DCC31-7023-4E80-885B-F1D9D2F5E534}"/>
          </ac:cxnSpMkLst>
        </pc:cxnChg>
        <pc:cxnChg chg="add">
          <ac:chgData name="Perez Diaz, Karen" userId="17027623-4de6-4c48-9453-394c2c5804f8" providerId="ADAL" clId="{A755515F-B52D-4BFA-B575-872A5E8C9A72}" dt="2021-01-28T21:47:28.055" v="15"/>
          <ac:cxnSpMkLst>
            <pc:docMk/>
            <pc:sldMk cId="3266835802" sldId="750"/>
            <ac:cxnSpMk id="169" creationId="{D3E60914-0FB6-4866-97DB-D7A59F9C78EA}"/>
          </ac:cxnSpMkLst>
        </pc:cxnChg>
        <pc:cxnChg chg="del mod">
          <ac:chgData name="Perez Diaz, Karen" userId="17027623-4de6-4c48-9453-394c2c5804f8" providerId="ADAL" clId="{A755515F-B52D-4BFA-B575-872A5E8C9A72}" dt="2021-02-01T19:52:42.098" v="98" actId="478"/>
          <ac:cxnSpMkLst>
            <pc:docMk/>
            <pc:sldMk cId="3266835802" sldId="750"/>
            <ac:cxnSpMk id="170" creationId="{22C87227-5D49-40A2-A3BC-8592EC3CD579}"/>
          </ac:cxnSpMkLst>
        </pc:cxnChg>
        <pc:cxnChg chg="add">
          <ac:chgData name="Perez Diaz, Karen" userId="17027623-4de6-4c48-9453-394c2c5804f8" providerId="ADAL" clId="{A755515F-B52D-4BFA-B575-872A5E8C9A72}" dt="2021-01-28T21:47:28.055" v="15"/>
          <ac:cxnSpMkLst>
            <pc:docMk/>
            <pc:sldMk cId="3266835802" sldId="750"/>
            <ac:cxnSpMk id="171" creationId="{0A896B63-B170-438F-9096-502D60DAF630}"/>
          </ac:cxnSpMkLst>
        </pc:cxnChg>
        <pc:cxnChg chg="add">
          <ac:chgData name="Perez Diaz, Karen" userId="17027623-4de6-4c48-9453-394c2c5804f8" providerId="ADAL" clId="{A755515F-B52D-4BFA-B575-872A5E8C9A72}" dt="2021-01-28T22:16:06.981" v="33"/>
          <ac:cxnSpMkLst>
            <pc:docMk/>
            <pc:sldMk cId="3266835802" sldId="750"/>
            <ac:cxnSpMk id="221" creationId="{3097F805-177C-45C4-B7FE-D7C585050186}"/>
          </ac:cxnSpMkLst>
        </pc:cxnChg>
      </pc:sldChg>
      <pc:sldChg chg="addSp delSp modSp add">
        <pc:chgData name="Perez Diaz, Karen" userId="17027623-4de6-4c48-9453-394c2c5804f8" providerId="ADAL" clId="{A755515F-B52D-4BFA-B575-872A5E8C9A72}" dt="2021-02-01T20:17:52.296" v="237"/>
        <pc:sldMkLst>
          <pc:docMk/>
          <pc:sldMk cId="743756714" sldId="751"/>
        </pc:sldMkLst>
        <pc:spChg chg="del mod">
          <ac:chgData name="Perez Diaz, Karen" userId="17027623-4de6-4c48-9453-394c2c5804f8" providerId="ADAL" clId="{A755515F-B52D-4BFA-B575-872A5E8C9A72}" dt="2021-02-01T19:50:37.698" v="57"/>
          <ac:spMkLst>
            <pc:docMk/>
            <pc:sldMk cId="743756714" sldId="751"/>
            <ac:spMk id="17" creationId="{C1BA304E-4D00-4467-9A6C-60D0F96B1272}"/>
          </ac:spMkLst>
        </pc:spChg>
        <pc:spChg chg="del">
          <ac:chgData name="Perez Diaz, Karen" userId="17027623-4de6-4c48-9453-394c2c5804f8" providerId="ADAL" clId="{A755515F-B52D-4BFA-B575-872A5E8C9A72}" dt="2021-02-01T19:50:23.658" v="46" actId="478"/>
          <ac:spMkLst>
            <pc:docMk/>
            <pc:sldMk cId="743756714" sldId="751"/>
            <ac:spMk id="18" creationId="{1FD44B30-90FA-490E-A024-06171BB7986B}"/>
          </ac:spMkLst>
        </pc:spChg>
        <pc:spChg chg="del mod topLvl">
          <ac:chgData name="Perez Diaz, Karen" userId="17027623-4de6-4c48-9453-394c2c5804f8" providerId="ADAL" clId="{A755515F-B52D-4BFA-B575-872A5E8C9A72}" dt="2021-02-01T19:50:38.983" v="58" actId="478"/>
          <ac:spMkLst>
            <pc:docMk/>
            <pc:sldMk cId="743756714" sldId="751"/>
            <ac:spMk id="19" creationId="{2D133A89-F002-41DF-BE8A-052612A491AC}"/>
          </ac:spMkLst>
        </pc:spChg>
        <pc:spChg chg="del mod">
          <ac:chgData name="Perez Diaz, Karen" userId="17027623-4de6-4c48-9453-394c2c5804f8" providerId="ADAL" clId="{A755515F-B52D-4BFA-B575-872A5E8C9A72}" dt="2021-02-01T20:14:02.318" v="139" actId="478"/>
          <ac:spMkLst>
            <pc:docMk/>
            <pc:sldMk cId="743756714" sldId="751"/>
            <ac:spMk id="34" creationId="{382E8A01-BEF3-48DC-8ADF-624A68CB482B}"/>
          </ac:spMkLst>
        </pc:spChg>
        <pc:spChg chg="del topLvl">
          <ac:chgData name="Perez Diaz, Karen" userId="17027623-4de6-4c48-9453-394c2c5804f8" providerId="ADAL" clId="{A755515F-B52D-4BFA-B575-872A5E8C9A72}" dt="2021-02-01T19:50:42.270" v="59" actId="478"/>
          <ac:spMkLst>
            <pc:docMk/>
            <pc:sldMk cId="743756714" sldId="751"/>
            <ac:spMk id="35" creationId="{2ACAE726-6B31-4DBD-9287-68684D0D1267}"/>
          </ac:spMkLst>
        </pc:spChg>
        <pc:spChg chg="del">
          <ac:chgData name="Perez Diaz, Karen" userId="17027623-4de6-4c48-9453-394c2c5804f8" providerId="ADAL" clId="{A755515F-B52D-4BFA-B575-872A5E8C9A72}" dt="2021-02-01T19:44:10.759" v="40" actId="478"/>
          <ac:spMkLst>
            <pc:docMk/>
            <pc:sldMk cId="743756714" sldId="751"/>
            <ac:spMk id="83" creationId="{D5DDF7CE-397E-46B2-B66C-4EA06546A479}"/>
          </ac:spMkLst>
        </pc:spChg>
        <pc:spChg chg="del">
          <ac:chgData name="Perez Diaz, Karen" userId="17027623-4de6-4c48-9453-394c2c5804f8" providerId="ADAL" clId="{A755515F-B52D-4BFA-B575-872A5E8C9A72}" dt="2021-02-01T19:44:10.759" v="40" actId="478"/>
          <ac:spMkLst>
            <pc:docMk/>
            <pc:sldMk cId="743756714" sldId="751"/>
            <ac:spMk id="84" creationId="{F9FC18E3-4FC7-4F15-9A05-D568A39645CA}"/>
          </ac:spMkLst>
        </pc:spChg>
        <pc:spChg chg="del">
          <ac:chgData name="Perez Diaz, Karen" userId="17027623-4de6-4c48-9453-394c2c5804f8" providerId="ADAL" clId="{A755515F-B52D-4BFA-B575-872A5E8C9A72}" dt="2021-02-01T19:44:10.759" v="40" actId="478"/>
          <ac:spMkLst>
            <pc:docMk/>
            <pc:sldMk cId="743756714" sldId="751"/>
            <ac:spMk id="85" creationId="{0ED3C1F7-D5E5-4BCA-AF01-DAE5DF068C84}"/>
          </ac:spMkLst>
        </pc:spChg>
        <pc:spChg chg="del">
          <ac:chgData name="Perez Diaz, Karen" userId="17027623-4de6-4c48-9453-394c2c5804f8" providerId="ADAL" clId="{A755515F-B52D-4BFA-B575-872A5E8C9A72}" dt="2021-02-01T19:44:10.759" v="40" actId="478"/>
          <ac:spMkLst>
            <pc:docMk/>
            <pc:sldMk cId="743756714" sldId="751"/>
            <ac:spMk id="86" creationId="{3C48546E-0764-4FC6-9E2A-20B6C6BA914A}"/>
          </ac:spMkLst>
        </pc:spChg>
        <pc:spChg chg="add del mod">
          <ac:chgData name="Perez Diaz, Karen" userId="17027623-4de6-4c48-9453-394c2c5804f8" providerId="ADAL" clId="{A755515F-B52D-4BFA-B575-872A5E8C9A72}" dt="2021-02-01T20:13:26.745" v="99" actId="478"/>
          <ac:spMkLst>
            <pc:docMk/>
            <pc:sldMk cId="743756714" sldId="751"/>
            <ac:spMk id="89" creationId="{54ABB9EE-3753-455E-87F5-4036FD13C94F}"/>
          </ac:spMkLst>
        </pc:spChg>
        <pc:spChg chg="add mod">
          <ac:chgData name="Perez Diaz, Karen" userId="17027623-4de6-4c48-9453-394c2c5804f8" providerId="ADAL" clId="{A755515F-B52D-4BFA-B575-872A5E8C9A72}" dt="2021-02-01T20:15:54.621" v="180" actId="1035"/>
          <ac:spMkLst>
            <pc:docMk/>
            <pc:sldMk cId="743756714" sldId="751"/>
            <ac:spMk id="92" creationId="{3AFBF715-C602-4E29-AD37-28FEA2115C06}"/>
          </ac:spMkLst>
        </pc:spChg>
        <pc:spChg chg="add mod">
          <ac:chgData name="Perez Diaz, Karen" userId="17027623-4de6-4c48-9453-394c2c5804f8" providerId="ADAL" clId="{A755515F-B52D-4BFA-B575-872A5E8C9A72}" dt="2021-02-01T20:16:28.525" v="192" actId="14100"/>
          <ac:spMkLst>
            <pc:docMk/>
            <pc:sldMk cId="743756714" sldId="751"/>
            <ac:spMk id="95" creationId="{5D905AEA-C1D3-4B7D-8E5B-8FB0E3E3F549}"/>
          </ac:spMkLst>
        </pc:spChg>
        <pc:spChg chg="add">
          <ac:chgData name="Perez Diaz, Karen" userId="17027623-4de6-4c48-9453-394c2c5804f8" providerId="ADAL" clId="{A755515F-B52D-4BFA-B575-872A5E8C9A72}" dt="2021-02-01T20:17:52.296" v="237"/>
          <ac:spMkLst>
            <pc:docMk/>
            <pc:sldMk cId="743756714" sldId="751"/>
            <ac:spMk id="97" creationId="{38641BEB-FDA6-4610-9692-CC7128FF110B}"/>
          </ac:spMkLst>
        </pc:spChg>
        <pc:spChg chg="del">
          <ac:chgData name="Perez Diaz, Karen" userId="17027623-4de6-4c48-9453-394c2c5804f8" providerId="ADAL" clId="{A755515F-B52D-4BFA-B575-872A5E8C9A72}" dt="2021-02-01T20:17:51.747" v="236" actId="478"/>
          <ac:spMkLst>
            <pc:docMk/>
            <pc:sldMk cId="743756714" sldId="751"/>
            <ac:spMk id="175" creationId="{3859F0A8-9599-4070-90DE-20D3E04792D8}"/>
          </ac:spMkLst>
        </pc:spChg>
        <pc:spChg chg="mod">
          <ac:chgData name="Perez Diaz, Karen" userId="17027623-4de6-4c48-9453-394c2c5804f8" providerId="ADAL" clId="{A755515F-B52D-4BFA-B575-872A5E8C9A72}" dt="2021-02-01T19:50:18.616" v="45" actId="14100"/>
          <ac:spMkLst>
            <pc:docMk/>
            <pc:sldMk cId="743756714" sldId="751"/>
            <ac:spMk id="202" creationId="{B5CA336B-A1BF-4871-8150-E9B291B6724C}"/>
          </ac:spMkLst>
        </pc:spChg>
        <pc:grpChg chg="del mod">
          <ac:chgData name="Perez Diaz, Karen" userId="17027623-4de6-4c48-9453-394c2c5804f8" providerId="ADAL" clId="{A755515F-B52D-4BFA-B575-872A5E8C9A72}" dt="2021-02-01T19:50:37.698" v="57"/>
          <ac:grpSpMkLst>
            <pc:docMk/>
            <pc:sldMk cId="743756714" sldId="751"/>
            <ac:grpSpMk id="23" creationId="{4AC32419-BA63-4713-9301-A226CFD32889}"/>
          </ac:grpSpMkLst>
        </pc:grpChg>
        <pc:grpChg chg="del">
          <ac:chgData name="Perez Diaz, Karen" userId="17027623-4de6-4c48-9453-394c2c5804f8" providerId="ADAL" clId="{A755515F-B52D-4BFA-B575-872A5E8C9A72}" dt="2021-02-01T19:50:23.658" v="46" actId="478"/>
          <ac:grpSpMkLst>
            <pc:docMk/>
            <pc:sldMk cId="743756714" sldId="751"/>
            <ac:grpSpMk id="24" creationId="{23994B4D-AEEA-4C88-8DDA-6E7C6CD827FD}"/>
          </ac:grpSpMkLst>
        </pc:grpChg>
        <pc:grpChg chg="del mod">
          <ac:chgData name="Perez Diaz, Karen" userId="17027623-4de6-4c48-9453-394c2c5804f8" providerId="ADAL" clId="{A755515F-B52D-4BFA-B575-872A5E8C9A72}" dt="2021-02-01T19:50:38.983" v="58" actId="478"/>
          <ac:grpSpMkLst>
            <pc:docMk/>
            <pc:sldMk cId="743756714" sldId="751"/>
            <ac:grpSpMk id="26" creationId="{899AB3C6-D04B-467B-80AD-71290C5FD607}"/>
          </ac:grpSpMkLst>
        </pc:grpChg>
        <pc:cxnChg chg="del mod">
          <ac:chgData name="Perez Diaz, Karen" userId="17027623-4de6-4c48-9453-394c2c5804f8" providerId="ADAL" clId="{A755515F-B52D-4BFA-B575-872A5E8C9A72}" dt="2021-02-01T20:13:44.620" v="111" actId="478"/>
          <ac:cxnSpMkLst>
            <pc:docMk/>
            <pc:sldMk cId="743756714" sldId="751"/>
            <ac:cxnSpMk id="52" creationId="{9A801628-898B-4840-8337-E3F4FCEE2F10}"/>
          </ac:cxnSpMkLst>
        </pc:cxnChg>
        <pc:cxnChg chg="add mod">
          <ac:chgData name="Perez Diaz, Karen" userId="17027623-4de6-4c48-9453-394c2c5804f8" providerId="ADAL" clId="{A755515F-B52D-4BFA-B575-872A5E8C9A72}" dt="2021-02-01T20:16:09.870" v="183" actId="14100"/>
          <ac:cxnSpMkLst>
            <pc:docMk/>
            <pc:sldMk cId="743756714" sldId="751"/>
            <ac:cxnSpMk id="91" creationId="{30437041-CAF2-440F-99E0-DC47ABAA9F22}"/>
          </ac:cxnSpMkLst>
        </pc:cxnChg>
        <pc:cxnChg chg="add mod">
          <ac:chgData name="Perez Diaz, Karen" userId="17027623-4de6-4c48-9453-394c2c5804f8" providerId="ADAL" clId="{A755515F-B52D-4BFA-B575-872A5E8C9A72}" dt="2021-02-01T20:16:28.525" v="192" actId="14100"/>
          <ac:cxnSpMkLst>
            <pc:docMk/>
            <pc:sldMk cId="743756714" sldId="751"/>
            <ac:cxnSpMk id="93" creationId="{E23C542C-A4CE-4942-95F8-AAB87EEAE5AA}"/>
          </ac:cxnSpMkLst>
        </pc:cxnChg>
        <pc:cxnChg chg="add">
          <ac:chgData name="Perez Diaz, Karen" userId="17027623-4de6-4c48-9453-394c2c5804f8" providerId="ADAL" clId="{A755515F-B52D-4BFA-B575-872A5E8C9A72}" dt="2021-01-29T15:37:51.018" v="34"/>
          <ac:cxnSpMkLst>
            <pc:docMk/>
            <pc:sldMk cId="743756714" sldId="751"/>
            <ac:cxnSpMk id="94" creationId="{02BE0E97-73FA-4A31-9000-5AC3BD2B92F3}"/>
          </ac:cxnSpMkLst>
        </pc:cxnChg>
        <pc:cxnChg chg="add">
          <ac:chgData name="Perez Diaz, Karen" userId="17027623-4de6-4c48-9453-394c2c5804f8" providerId="ADAL" clId="{A755515F-B52D-4BFA-B575-872A5E8C9A72}" dt="2021-01-29T15:39:10.569" v="35"/>
          <ac:cxnSpMkLst>
            <pc:docMk/>
            <pc:sldMk cId="743756714" sldId="751"/>
            <ac:cxnSpMk id="101" creationId="{D33917D8-6BE5-48BB-90EF-6A05A36AF7EA}"/>
          </ac:cxnSpMkLst>
        </pc:cxnChg>
        <pc:cxnChg chg="add del">
          <ac:chgData name="Perez Diaz, Karen" userId="17027623-4de6-4c48-9453-394c2c5804f8" providerId="ADAL" clId="{A755515F-B52D-4BFA-B575-872A5E8C9A72}" dt="2021-02-01T19:44:12.552" v="41" actId="478"/>
          <ac:cxnSpMkLst>
            <pc:docMk/>
            <pc:sldMk cId="743756714" sldId="751"/>
            <ac:cxnSpMk id="102" creationId="{E5C80857-F69C-43DF-AA57-54A66C888234}"/>
          </ac:cxnSpMkLst>
        </pc:cxnChg>
        <pc:cxnChg chg="del mod">
          <ac:chgData name="Perez Diaz, Karen" userId="17027623-4de6-4c48-9453-394c2c5804f8" providerId="ADAL" clId="{A755515F-B52D-4BFA-B575-872A5E8C9A72}" dt="2021-02-01T19:50:26.112" v="47" actId="478"/>
          <ac:cxnSpMkLst>
            <pc:docMk/>
            <pc:sldMk cId="743756714" sldId="751"/>
            <ac:cxnSpMk id="170" creationId="{22C87227-5D49-40A2-A3BC-8592EC3CD579}"/>
          </ac:cxnSpMkLst>
        </pc:cxnChg>
      </pc:sldChg>
      <pc:sldChg chg="add del">
        <pc:chgData name="Perez Diaz, Karen" userId="17027623-4de6-4c48-9453-394c2c5804f8" providerId="ADAL" clId="{A755515F-B52D-4BFA-B575-872A5E8C9A72}" dt="2021-01-28T22:14:04.415" v="31"/>
        <pc:sldMkLst>
          <pc:docMk/>
          <pc:sldMk cId="2717956519" sldId="751"/>
        </pc:sldMkLst>
      </pc:sldChg>
      <pc:sldChg chg="add del">
        <pc:chgData name="Perez Diaz, Karen" userId="17027623-4de6-4c48-9453-394c2c5804f8" providerId="ADAL" clId="{A755515F-B52D-4BFA-B575-872A5E8C9A72}" dt="2021-02-01T20:17:56.344" v="238" actId="2696"/>
        <pc:sldMkLst>
          <pc:docMk/>
          <pc:sldMk cId="3968424769" sldId="752"/>
        </pc:sldMkLst>
      </pc:sldChg>
    </pc:docChg>
  </pc:docChgLst>
  <pc:docChgLst>
    <pc:chgData name="Perez Diaz, Karen" userId="17027623-4de6-4c48-9453-394c2c5804f8" providerId="ADAL" clId="{6A21F363-2946-48B9-BAC7-A90E15D1E657}"/>
    <pc:docChg chg="undo redo custSel addSld delSld modSld">
      <pc:chgData name="Perez Diaz, Karen" userId="17027623-4de6-4c48-9453-394c2c5804f8" providerId="ADAL" clId="{6A21F363-2946-48B9-BAC7-A90E15D1E657}" dt="2021-04-16T15:10:42.244" v="1071" actId="20577"/>
      <pc:docMkLst>
        <pc:docMk/>
      </pc:docMkLst>
      <pc:sldChg chg="delSp mod">
        <pc:chgData name="Perez Diaz, Karen" userId="17027623-4de6-4c48-9453-394c2c5804f8" providerId="ADAL" clId="{6A21F363-2946-48B9-BAC7-A90E15D1E657}" dt="2021-04-15T14:27:14.754" v="0" actId="478"/>
        <pc:sldMkLst>
          <pc:docMk/>
          <pc:sldMk cId="743756714" sldId="751"/>
        </pc:sldMkLst>
        <pc:cxnChg chg="del">
          <ac:chgData name="Perez Diaz, Karen" userId="17027623-4de6-4c48-9453-394c2c5804f8" providerId="ADAL" clId="{6A21F363-2946-48B9-BAC7-A90E15D1E657}" dt="2021-04-15T14:27:14.754" v="0" actId="478"/>
          <ac:cxnSpMkLst>
            <pc:docMk/>
            <pc:sldMk cId="743756714" sldId="751"/>
            <ac:cxnSpMk id="4" creationId="{EEF197D6-422C-4476-9AAB-134C0BB2E24F}"/>
          </ac:cxnSpMkLst>
        </pc:cxnChg>
      </pc:sldChg>
      <pc:sldChg chg="modSp mod">
        <pc:chgData name="Perez Diaz, Karen" userId="17027623-4de6-4c48-9453-394c2c5804f8" providerId="ADAL" clId="{6A21F363-2946-48B9-BAC7-A90E15D1E657}" dt="2021-04-15T15:08:22.070" v="11" actId="20577"/>
        <pc:sldMkLst>
          <pc:docMk/>
          <pc:sldMk cId="313541378" sldId="754"/>
        </pc:sldMkLst>
        <pc:spChg chg="mod">
          <ac:chgData name="Perez Diaz, Karen" userId="17027623-4de6-4c48-9453-394c2c5804f8" providerId="ADAL" clId="{6A21F363-2946-48B9-BAC7-A90E15D1E657}" dt="2021-04-15T15:07:37.501" v="9" actId="5793"/>
          <ac:spMkLst>
            <pc:docMk/>
            <pc:sldMk cId="313541378" sldId="754"/>
            <ac:spMk id="4" creationId="{3391FEEF-F27B-41D9-B582-F93BB491DB23}"/>
          </ac:spMkLst>
        </pc:spChg>
        <pc:graphicFrameChg chg="modGraphic">
          <ac:chgData name="Perez Diaz, Karen" userId="17027623-4de6-4c48-9453-394c2c5804f8" providerId="ADAL" clId="{6A21F363-2946-48B9-BAC7-A90E15D1E657}" dt="2021-04-15T15:08:22.070" v="11" actId="20577"/>
          <ac:graphicFrameMkLst>
            <pc:docMk/>
            <pc:sldMk cId="313541378" sldId="754"/>
            <ac:graphicFrameMk id="5" creationId="{CFFC21C1-D8DC-44A8-8916-D41D38B0EE0C}"/>
          </ac:graphicFrameMkLst>
        </pc:graphicFrameChg>
      </pc:sldChg>
      <pc:sldChg chg="modSp mod">
        <pc:chgData name="Perez Diaz, Karen" userId="17027623-4de6-4c48-9453-394c2c5804f8" providerId="ADAL" clId="{6A21F363-2946-48B9-BAC7-A90E15D1E657}" dt="2021-04-15T14:40:28.356" v="5" actId="20577"/>
        <pc:sldMkLst>
          <pc:docMk/>
          <pc:sldMk cId="3220359219" sldId="758"/>
        </pc:sldMkLst>
        <pc:spChg chg="mod">
          <ac:chgData name="Perez Diaz, Karen" userId="17027623-4de6-4c48-9453-394c2c5804f8" providerId="ADAL" clId="{6A21F363-2946-48B9-BAC7-A90E15D1E657}" dt="2021-04-15T14:40:28.356" v="5" actId="20577"/>
          <ac:spMkLst>
            <pc:docMk/>
            <pc:sldMk cId="3220359219" sldId="758"/>
            <ac:spMk id="4" creationId="{3391FEEF-F27B-41D9-B582-F93BB491DB23}"/>
          </ac:spMkLst>
        </pc:spChg>
      </pc:sldChg>
      <pc:sldChg chg="modSp mod">
        <pc:chgData name="Perez Diaz, Karen" userId="17027623-4de6-4c48-9453-394c2c5804f8" providerId="ADAL" clId="{6A21F363-2946-48B9-BAC7-A90E15D1E657}" dt="2021-04-15T15:19:16.723" v="26" actId="20577"/>
        <pc:sldMkLst>
          <pc:docMk/>
          <pc:sldMk cId="2687953584" sldId="759"/>
        </pc:sldMkLst>
        <pc:graphicFrameChg chg="modGraphic">
          <ac:chgData name="Perez Diaz, Karen" userId="17027623-4de6-4c48-9453-394c2c5804f8" providerId="ADAL" clId="{6A21F363-2946-48B9-BAC7-A90E15D1E657}" dt="2021-04-15T15:19:16.723" v="26" actId="20577"/>
          <ac:graphicFrameMkLst>
            <pc:docMk/>
            <pc:sldMk cId="2687953584" sldId="759"/>
            <ac:graphicFrameMk id="6" creationId="{D3664D7F-0A45-46CB-8FED-4E8FFE29E40A}"/>
          </ac:graphicFrameMkLst>
        </pc:graphicFrameChg>
      </pc:sldChg>
      <pc:sldChg chg="addSp delSp modSp new del mod">
        <pc:chgData name="Perez Diaz, Karen" userId="17027623-4de6-4c48-9453-394c2c5804f8" providerId="ADAL" clId="{6A21F363-2946-48B9-BAC7-A90E15D1E657}" dt="2021-04-15T19:19:31.214" v="845" actId="47"/>
        <pc:sldMkLst>
          <pc:docMk/>
          <pc:sldMk cId="62596318" sldId="762"/>
        </pc:sldMkLst>
        <pc:spChg chg="mod">
          <ac:chgData name="Perez Diaz, Karen" userId="17027623-4de6-4c48-9453-394c2c5804f8" providerId="ADAL" clId="{6A21F363-2946-48B9-BAC7-A90E15D1E657}" dt="2021-04-15T17:48:16.374" v="133" actId="20577"/>
          <ac:spMkLst>
            <pc:docMk/>
            <pc:sldMk cId="62596318" sldId="762"/>
            <ac:spMk id="2" creationId="{895A63C0-F91A-4580-9756-F242EB4C4268}"/>
          </ac:spMkLst>
        </pc:spChg>
        <pc:spChg chg="del">
          <ac:chgData name="Perez Diaz, Karen" userId="17027623-4de6-4c48-9453-394c2c5804f8" providerId="ADAL" clId="{6A21F363-2946-48B9-BAC7-A90E15D1E657}" dt="2021-04-15T17:47:41.758" v="102" actId="3680"/>
          <ac:spMkLst>
            <pc:docMk/>
            <pc:sldMk cId="62596318" sldId="762"/>
            <ac:spMk id="3" creationId="{AE98EF39-B025-4344-A37C-ABAE7828BBBD}"/>
          </ac:spMkLst>
        </pc:spChg>
        <pc:spChg chg="add mod">
          <ac:chgData name="Perez Diaz, Karen" userId="17027623-4de6-4c48-9453-394c2c5804f8" providerId="ADAL" clId="{6A21F363-2946-48B9-BAC7-A90E15D1E657}" dt="2021-04-15T19:04:36.169" v="749" actId="1035"/>
          <ac:spMkLst>
            <pc:docMk/>
            <pc:sldMk cId="62596318" sldId="762"/>
            <ac:spMk id="5" creationId="{0FA35FCA-3101-4E2A-A3B0-E5FB0842D61A}"/>
          </ac:spMkLst>
        </pc:spChg>
        <pc:graphicFrameChg chg="add mod ord modGraphic">
          <ac:chgData name="Perez Diaz, Karen" userId="17027623-4de6-4c48-9453-394c2c5804f8" providerId="ADAL" clId="{6A21F363-2946-48B9-BAC7-A90E15D1E657}" dt="2021-04-15T19:04:36.169" v="749" actId="1035"/>
          <ac:graphicFrameMkLst>
            <pc:docMk/>
            <pc:sldMk cId="62596318" sldId="762"/>
            <ac:graphicFrameMk id="4" creationId="{3D5FED48-F8E8-4A64-888E-07550FD7ED42}"/>
          </ac:graphicFrameMkLst>
        </pc:graphicFrameChg>
      </pc:sldChg>
      <pc:sldChg chg="addSp delSp modSp add mod">
        <pc:chgData name="Perez Diaz, Karen" userId="17027623-4de6-4c48-9453-394c2c5804f8" providerId="ADAL" clId="{6A21F363-2946-48B9-BAC7-A90E15D1E657}" dt="2021-04-16T15:10:42.244" v="1071" actId="20577"/>
        <pc:sldMkLst>
          <pc:docMk/>
          <pc:sldMk cId="1546832768" sldId="763"/>
        </pc:sldMkLst>
        <pc:spChg chg="mod">
          <ac:chgData name="Perez Diaz, Karen" userId="17027623-4de6-4c48-9453-394c2c5804f8" providerId="ADAL" clId="{6A21F363-2946-48B9-BAC7-A90E15D1E657}" dt="2021-04-16T15:05:00.765" v="983" actId="1036"/>
          <ac:spMkLst>
            <pc:docMk/>
            <pc:sldMk cId="1546832768" sldId="763"/>
            <ac:spMk id="5" creationId="{0FA35FCA-3101-4E2A-A3B0-E5FB0842D61A}"/>
          </ac:spMkLst>
        </pc:spChg>
        <pc:spChg chg="add mod">
          <ac:chgData name="Perez Diaz, Karen" userId="17027623-4de6-4c48-9453-394c2c5804f8" providerId="ADAL" clId="{6A21F363-2946-48B9-BAC7-A90E15D1E657}" dt="2021-04-16T14:45:34.495" v="860" actId="14100"/>
          <ac:spMkLst>
            <pc:docMk/>
            <pc:sldMk cId="1546832768" sldId="763"/>
            <ac:spMk id="6" creationId="{D1B3242B-E028-4709-AAAD-C08CAAB3106B}"/>
          </ac:spMkLst>
        </pc:spChg>
        <pc:graphicFrameChg chg="del mod">
          <ac:chgData name="Perez Diaz, Karen" userId="17027623-4de6-4c48-9453-394c2c5804f8" providerId="ADAL" clId="{6A21F363-2946-48B9-BAC7-A90E15D1E657}" dt="2021-04-15T19:06:12.006" v="752" actId="478"/>
          <ac:graphicFrameMkLst>
            <pc:docMk/>
            <pc:sldMk cId="1546832768" sldId="763"/>
            <ac:graphicFrameMk id="4" creationId="{3D5FED48-F8E8-4A64-888E-07550FD7ED42}"/>
          </ac:graphicFrameMkLst>
        </pc:graphicFrameChg>
        <pc:graphicFrameChg chg="add del mod modGraphic">
          <ac:chgData name="Perez Diaz, Karen" userId="17027623-4de6-4c48-9453-394c2c5804f8" providerId="ADAL" clId="{6A21F363-2946-48B9-BAC7-A90E15D1E657}" dt="2021-04-16T15:10:42.244" v="1071" actId="20577"/>
          <ac:graphicFrameMkLst>
            <pc:docMk/>
            <pc:sldMk cId="1546832768" sldId="763"/>
            <ac:graphicFrameMk id="7" creationId="{76CCF4A6-E904-42DA-9A31-5DA01D415FE9}"/>
          </ac:graphicFrameMkLst>
        </pc:graphicFrameChg>
      </pc:sldChg>
    </pc:docChg>
  </pc:docChgLst>
  <pc:docChgLst>
    <pc:chgData name="Perez Diaz, Karen" userId="17027623-4de6-4c48-9453-394c2c5804f8" providerId="ADAL" clId="{7DA00FB3-E578-4F48-AE77-5756A10C46F7}"/>
    <pc:docChg chg="undo custSel addSld delSld modSld sldOrd">
      <pc:chgData name="Perez Diaz, Karen" userId="17027623-4de6-4c48-9453-394c2c5804f8" providerId="ADAL" clId="{7DA00FB3-E578-4F48-AE77-5756A10C46F7}" dt="2021-06-08T15:50:51.186" v="2897" actId="6549"/>
      <pc:docMkLst>
        <pc:docMk/>
      </pc:docMkLst>
      <pc:sldChg chg="modSp mod">
        <pc:chgData name="Perez Diaz, Karen" userId="17027623-4de6-4c48-9453-394c2c5804f8" providerId="ADAL" clId="{7DA00FB3-E578-4F48-AE77-5756A10C46F7}" dt="2021-06-08T13:13:56.246" v="1444" actId="20577"/>
        <pc:sldMkLst>
          <pc:docMk/>
          <pc:sldMk cId="3585510629" sldId="257"/>
        </pc:sldMkLst>
        <pc:spChg chg="mod">
          <ac:chgData name="Perez Diaz, Karen" userId="17027623-4de6-4c48-9453-394c2c5804f8" providerId="ADAL" clId="{7DA00FB3-E578-4F48-AE77-5756A10C46F7}" dt="2021-06-08T13:13:56.246" v="1444" actId="20577"/>
          <ac:spMkLst>
            <pc:docMk/>
            <pc:sldMk cId="3585510629" sldId="257"/>
            <ac:spMk id="2" creationId="{00000000-0000-0000-0000-000000000000}"/>
          </ac:spMkLst>
        </pc:spChg>
        <pc:spChg chg="mod">
          <ac:chgData name="Perez Diaz, Karen" userId="17027623-4de6-4c48-9453-394c2c5804f8" providerId="ADAL" clId="{7DA00FB3-E578-4F48-AE77-5756A10C46F7}" dt="2021-06-08T02:55:04.669" v="0" actId="1076"/>
          <ac:spMkLst>
            <pc:docMk/>
            <pc:sldMk cId="3585510629" sldId="257"/>
            <ac:spMk id="14" creationId="{00000000-0000-0000-0000-000000000000}"/>
          </ac:spMkLst>
        </pc:spChg>
        <pc:spChg chg="mod">
          <ac:chgData name="Perez Diaz, Karen" userId="17027623-4de6-4c48-9453-394c2c5804f8" providerId="ADAL" clId="{7DA00FB3-E578-4F48-AE77-5756A10C46F7}" dt="2021-06-08T02:55:10.588" v="1" actId="1076"/>
          <ac:spMkLst>
            <pc:docMk/>
            <pc:sldMk cId="3585510629" sldId="257"/>
            <ac:spMk id="15" creationId="{00000000-0000-0000-0000-000000000000}"/>
          </ac:spMkLst>
        </pc:spChg>
      </pc:sldChg>
      <pc:sldChg chg="del">
        <pc:chgData name="Perez Diaz, Karen" userId="17027623-4de6-4c48-9453-394c2c5804f8" providerId="ADAL" clId="{7DA00FB3-E578-4F48-AE77-5756A10C46F7}" dt="2021-06-08T12:10:25.566" v="102" actId="47"/>
        <pc:sldMkLst>
          <pc:docMk/>
          <pc:sldMk cId="753726229" sldId="379"/>
        </pc:sldMkLst>
      </pc:sldChg>
      <pc:sldChg chg="del">
        <pc:chgData name="Perez Diaz, Karen" userId="17027623-4de6-4c48-9453-394c2c5804f8" providerId="ADAL" clId="{7DA00FB3-E578-4F48-AE77-5756A10C46F7}" dt="2021-06-08T12:10:09.697" v="99" actId="47"/>
        <pc:sldMkLst>
          <pc:docMk/>
          <pc:sldMk cId="995053867" sldId="435"/>
        </pc:sldMkLst>
      </pc:sldChg>
      <pc:sldChg chg="modSp mod">
        <pc:chgData name="Perez Diaz, Karen" userId="17027623-4de6-4c48-9453-394c2c5804f8" providerId="ADAL" clId="{7DA00FB3-E578-4F48-AE77-5756A10C46F7}" dt="2021-06-08T15:50:51.186" v="2897" actId="6549"/>
        <pc:sldMkLst>
          <pc:docMk/>
          <pc:sldMk cId="3197154609" sldId="736"/>
        </pc:sldMkLst>
        <pc:spChg chg="mod">
          <ac:chgData name="Perez Diaz, Karen" userId="17027623-4de6-4c48-9453-394c2c5804f8" providerId="ADAL" clId="{7DA00FB3-E578-4F48-AE77-5756A10C46F7}" dt="2021-06-08T15:50:51.186" v="2897" actId="6549"/>
          <ac:spMkLst>
            <pc:docMk/>
            <pc:sldMk cId="3197154609" sldId="736"/>
            <ac:spMk id="2" creationId="{FE1208AD-B065-42AE-BC44-9C064C83105A}"/>
          </ac:spMkLst>
        </pc:spChg>
        <pc:spChg chg="mod">
          <ac:chgData name="Perez Diaz, Karen" userId="17027623-4de6-4c48-9453-394c2c5804f8" providerId="ADAL" clId="{7DA00FB3-E578-4F48-AE77-5756A10C46F7}" dt="2021-06-08T12:44:18.176" v="834" actId="20577"/>
          <ac:spMkLst>
            <pc:docMk/>
            <pc:sldMk cId="3197154609" sldId="736"/>
            <ac:spMk id="3" creationId="{AF0DA26D-3B67-40C8-9676-A9B16F9FFEA9}"/>
          </ac:spMkLst>
        </pc:spChg>
      </pc:sldChg>
      <pc:sldChg chg="del">
        <pc:chgData name="Perez Diaz, Karen" userId="17027623-4de6-4c48-9453-394c2c5804f8" providerId="ADAL" clId="{7DA00FB3-E578-4F48-AE77-5756A10C46F7}" dt="2021-06-08T12:10:25.566" v="102" actId="47"/>
        <pc:sldMkLst>
          <pc:docMk/>
          <pc:sldMk cId="1285900942" sldId="737"/>
        </pc:sldMkLst>
      </pc:sldChg>
      <pc:sldChg chg="del">
        <pc:chgData name="Perez Diaz, Karen" userId="17027623-4de6-4c48-9453-394c2c5804f8" providerId="ADAL" clId="{7DA00FB3-E578-4F48-AE77-5756A10C46F7}" dt="2021-06-08T12:10:25.566" v="102" actId="47"/>
        <pc:sldMkLst>
          <pc:docMk/>
          <pc:sldMk cId="3216517808" sldId="738"/>
        </pc:sldMkLst>
      </pc:sldChg>
      <pc:sldChg chg="modSp add del mod">
        <pc:chgData name="Perez Diaz, Karen" userId="17027623-4de6-4c48-9453-394c2c5804f8" providerId="ADAL" clId="{7DA00FB3-E578-4F48-AE77-5756A10C46F7}" dt="2021-06-08T15:32:56.191" v="2614" actId="14100"/>
        <pc:sldMkLst>
          <pc:docMk/>
          <pc:sldMk cId="2585549440" sldId="752"/>
        </pc:sldMkLst>
        <pc:spChg chg="mod">
          <ac:chgData name="Perez Diaz, Karen" userId="17027623-4de6-4c48-9453-394c2c5804f8" providerId="ADAL" clId="{7DA00FB3-E578-4F48-AE77-5756A10C46F7}" dt="2021-06-08T15:32:56.191" v="2614" actId="14100"/>
          <ac:spMkLst>
            <pc:docMk/>
            <pc:sldMk cId="2585549440" sldId="752"/>
            <ac:spMk id="3" creationId="{16D5365B-B602-44AC-9EC5-1FECB96A2A26}"/>
          </ac:spMkLst>
        </pc:spChg>
      </pc:sldChg>
      <pc:sldChg chg="del">
        <pc:chgData name="Perez Diaz, Karen" userId="17027623-4de6-4c48-9453-394c2c5804f8" providerId="ADAL" clId="{7DA00FB3-E578-4F48-AE77-5756A10C46F7}" dt="2021-06-08T12:10:16.354" v="101" actId="47"/>
        <pc:sldMkLst>
          <pc:docMk/>
          <pc:sldMk cId="4110761666" sldId="753"/>
        </pc:sldMkLst>
      </pc:sldChg>
      <pc:sldChg chg="del">
        <pc:chgData name="Perez Diaz, Karen" userId="17027623-4de6-4c48-9453-394c2c5804f8" providerId="ADAL" clId="{7DA00FB3-E578-4F48-AE77-5756A10C46F7}" dt="2021-06-08T12:10:10.478" v="100" actId="47"/>
        <pc:sldMkLst>
          <pc:docMk/>
          <pc:sldMk cId="2687953584" sldId="759"/>
        </pc:sldMkLst>
      </pc:sldChg>
      <pc:sldChg chg="add del">
        <pc:chgData name="Perez Diaz, Karen" userId="17027623-4de6-4c48-9453-394c2c5804f8" providerId="ADAL" clId="{7DA00FB3-E578-4F48-AE77-5756A10C46F7}" dt="2021-06-08T15:44:07.388" v="2745" actId="2696"/>
        <pc:sldMkLst>
          <pc:docMk/>
          <pc:sldMk cId="1172274058" sldId="257323"/>
        </pc:sldMkLst>
      </pc:sldChg>
      <pc:sldChg chg="add">
        <pc:chgData name="Perez Diaz, Karen" userId="17027623-4de6-4c48-9453-394c2c5804f8" providerId="ADAL" clId="{7DA00FB3-E578-4F48-AE77-5756A10C46F7}" dt="2021-06-08T15:44:14.560" v="2746"/>
        <pc:sldMkLst>
          <pc:docMk/>
          <pc:sldMk cId="2248606943" sldId="257323"/>
        </pc:sldMkLst>
      </pc:sldChg>
      <pc:sldChg chg="del">
        <pc:chgData name="Perez Diaz, Karen" userId="17027623-4de6-4c48-9453-394c2c5804f8" providerId="ADAL" clId="{7DA00FB3-E578-4F48-AE77-5756A10C46F7}" dt="2021-06-08T12:52:55.816" v="969" actId="2696"/>
        <pc:sldMkLst>
          <pc:docMk/>
          <pc:sldMk cId="2776755944" sldId="257323"/>
        </pc:sldMkLst>
      </pc:sldChg>
      <pc:sldChg chg="add del">
        <pc:chgData name="Perez Diaz, Karen" userId="17027623-4de6-4c48-9453-394c2c5804f8" providerId="ADAL" clId="{7DA00FB3-E578-4F48-AE77-5756A10C46F7}" dt="2021-06-08T12:53:21.708" v="971" actId="2696"/>
        <pc:sldMkLst>
          <pc:docMk/>
          <pc:sldMk cId="4178051999" sldId="257323"/>
        </pc:sldMkLst>
      </pc:sldChg>
      <pc:sldChg chg="del">
        <pc:chgData name="Perez Diaz, Karen" userId="17027623-4de6-4c48-9453-394c2c5804f8" providerId="ADAL" clId="{7DA00FB3-E578-4F48-AE77-5756A10C46F7}" dt="2021-06-08T12:32:10.331" v="462" actId="2696"/>
        <pc:sldMkLst>
          <pc:docMk/>
          <pc:sldMk cId="475631471" sldId="257346"/>
        </pc:sldMkLst>
      </pc:sldChg>
      <pc:sldChg chg="addSp delSp modSp add del mod modClrScheme chgLayout">
        <pc:chgData name="Perez Diaz, Karen" userId="17027623-4de6-4c48-9453-394c2c5804f8" providerId="ADAL" clId="{7DA00FB3-E578-4F48-AE77-5756A10C46F7}" dt="2021-06-08T12:43:41.640" v="787" actId="47"/>
        <pc:sldMkLst>
          <pc:docMk/>
          <pc:sldMk cId="4016600271" sldId="257346"/>
        </pc:sldMkLst>
        <pc:spChg chg="mod">
          <ac:chgData name="Perez Diaz, Karen" userId="17027623-4de6-4c48-9453-394c2c5804f8" providerId="ADAL" clId="{7DA00FB3-E578-4F48-AE77-5756A10C46F7}" dt="2021-06-08T12:34:04.175" v="557" actId="26606"/>
          <ac:spMkLst>
            <pc:docMk/>
            <pc:sldMk cId="4016600271" sldId="257346"/>
            <ac:spMk id="2" creationId="{B872A945-E229-47E2-BC86-6752E4AEADE8}"/>
          </ac:spMkLst>
        </pc:spChg>
        <pc:spChg chg="mod">
          <ac:chgData name="Perez Diaz, Karen" userId="17027623-4de6-4c48-9453-394c2c5804f8" providerId="ADAL" clId="{7DA00FB3-E578-4F48-AE77-5756A10C46F7}" dt="2021-06-08T12:34:04.175" v="557" actId="26606"/>
          <ac:spMkLst>
            <pc:docMk/>
            <pc:sldMk cId="4016600271" sldId="257346"/>
            <ac:spMk id="3" creationId="{917169DB-B556-4406-9CE3-73B84E7E230A}"/>
          </ac:spMkLst>
        </pc:spChg>
        <pc:picChg chg="add del mod">
          <ac:chgData name="Perez Diaz, Karen" userId="17027623-4de6-4c48-9453-394c2c5804f8" providerId="ADAL" clId="{7DA00FB3-E578-4F48-AE77-5756A10C46F7}" dt="2021-06-08T12:39:02.361" v="729" actId="21"/>
          <ac:picMkLst>
            <pc:docMk/>
            <pc:sldMk cId="4016600271" sldId="257346"/>
            <ac:picMk id="4" creationId="{DF28E665-6C98-4C06-AD49-DA7200BE7028}"/>
          </ac:picMkLst>
        </pc:picChg>
      </pc:sldChg>
      <pc:sldChg chg="modSp mod">
        <pc:chgData name="Perez Diaz, Karen" userId="17027623-4de6-4c48-9453-394c2c5804f8" providerId="ADAL" clId="{7DA00FB3-E578-4F48-AE77-5756A10C46F7}" dt="2021-06-08T15:32:44.900" v="2613" actId="20577"/>
        <pc:sldMkLst>
          <pc:docMk/>
          <pc:sldMk cId="4291523258" sldId="257379"/>
        </pc:sldMkLst>
        <pc:spChg chg="mod">
          <ac:chgData name="Perez Diaz, Karen" userId="17027623-4de6-4c48-9453-394c2c5804f8" providerId="ADAL" clId="{7DA00FB3-E578-4F48-AE77-5756A10C46F7}" dt="2021-06-08T15:32:44.900" v="2613" actId="20577"/>
          <ac:spMkLst>
            <pc:docMk/>
            <pc:sldMk cId="4291523258" sldId="257379"/>
            <ac:spMk id="2" creationId="{B872A945-E229-47E2-BC86-6752E4AEADE8}"/>
          </ac:spMkLst>
        </pc:spChg>
        <pc:spChg chg="mod">
          <ac:chgData name="Perez Diaz, Karen" userId="17027623-4de6-4c48-9453-394c2c5804f8" providerId="ADAL" clId="{7DA00FB3-E578-4F48-AE77-5756A10C46F7}" dt="2021-06-08T13:10:39.216" v="1321" actId="20577"/>
          <ac:spMkLst>
            <pc:docMk/>
            <pc:sldMk cId="4291523258" sldId="257379"/>
            <ac:spMk id="3" creationId="{917169DB-B556-4406-9CE3-73B84E7E230A}"/>
          </ac:spMkLst>
        </pc:spChg>
      </pc:sldChg>
      <pc:sldChg chg="modSp mod">
        <pc:chgData name="Perez Diaz, Karen" userId="17027623-4de6-4c48-9453-394c2c5804f8" providerId="ADAL" clId="{7DA00FB3-E578-4F48-AE77-5756A10C46F7}" dt="2021-06-08T12:55:12.736" v="984" actId="6549"/>
        <pc:sldMkLst>
          <pc:docMk/>
          <pc:sldMk cId="3709151776" sldId="257382"/>
        </pc:sldMkLst>
        <pc:spChg chg="mod">
          <ac:chgData name="Perez Diaz, Karen" userId="17027623-4de6-4c48-9453-394c2c5804f8" providerId="ADAL" clId="{7DA00FB3-E578-4F48-AE77-5756A10C46F7}" dt="2021-06-08T12:55:12.736" v="984" actId="6549"/>
          <ac:spMkLst>
            <pc:docMk/>
            <pc:sldMk cId="3709151776" sldId="257382"/>
            <ac:spMk id="4" creationId="{39701C88-A664-4435-A6E3-1D28C101D72B}"/>
          </ac:spMkLst>
        </pc:spChg>
        <pc:spChg chg="mod">
          <ac:chgData name="Perez Diaz, Karen" userId="17027623-4de6-4c48-9453-394c2c5804f8" providerId="ADAL" clId="{7DA00FB3-E578-4F48-AE77-5756A10C46F7}" dt="2021-06-08T12:52:00.224" v="966" actId="207"/>
          <ac:spMkLst>
            <pc:docMk/>
            <pc:sldMk cId="3709151776" sldId="257382"/>
            <ac:spMk id="6" creationId="{765C8A17-4138-4FFC-BF9C-9534159DAF65}"/>
          </ac:spMkLst>
        </pc:spChg>
      </pc:sldChg>
      <pc:sldChg chg="addSp modSp mod">
        <pc:chgData name="Perez Diaz, Karen" userId="17027623-4de6-4c48-9453-394c2c5804f8" providerId="ADAL" clId="{7DA00FB3-E578-4F48-AE77-5756A10C46F7}" dt="2021-06-08T15:32:26.535" v="2612" actId="12"/>
        <pc:sldMkLst>
          <pc:docMk/>
          <pc:sldMk cId="102353191" sldId="257383"/>
        </pc:sldMkLst>
        <pc:spChg chg="mod">
          <ac:chgData name="Perez Diaz, Karen" userId="17027623-4de6-4c48-9453-394c2c5804f8" providerId="ADAL" clId="{7DA00FB3-E578-4F48-AE77-5756A10C46F7}" dt="2021-06-08T15:31:35.955" v="2596" actId="1035"/>
          <ac:spMkLst>
            <pc:docMk/>
            <pc:sldMk cId="102353191" sldId="257383"/>
            <ac:spMk id="3" creationId="{EE1E7389-1C96-40E8-87FF-38937D89B34F}"/>
          </ac:spMkLst>
        </pc:spChg>
        <pc:spChg chg="mod">
          <ac:chgData name="Perez Diaz, Karen" userId="17027623-4de6-4c48-9453-394c2c5804f8" providerId="ADAL" clId="{7DA00FB3-E578-4F48-AE77-5756A10C46F7}" dt="2021-06-08T15:32:26.535" v="2612" actId="12"/>
          <ac:spMkLst>
            <pc:docMk/>
            <pc:sldMk cId="102353191" sldId="257383"/>
            <ac:spMk id="4" creationId="{39701C88-A664-4435-A6E3-1D28C101D72B}"/>
          </ac:spMkLst>
        </pc:spChg>
        <pc:spChg chg="mod">
          <ac:chgData name="Perez Diaz, Karen" userId="17027623-4de6-4c48-9453-394c2c5804f8" providerId="ADAL" clId="{7DA00FB3-E578-4F48-AE77-5756A10C46F7}" dt="2021-06-08T15:31:35.955" v="2596" actId="1035"/>
          <ac:spMkLst>
            <pc:docMk/>
            <pc:sldMk cId="102353191" sldId="257383"/>
            <ac:spMk id="6" creationId="{765C8A17-4138-4FFC-BF9C-9534159DAF65}"/>
          </ac:spMkLst>
        </pc:spChg>
        <pc:spChg chg="add mod">
          <ac:chgData name="Perez Diaz, Karen" userId="17027623-4de6-4c48-9453-394c2c5804f8" providerId="ADAL" clId="{7DA00FB3-E578-4F48-AE77-5756A10C46F7}" dt="2021-06-08T15:31:26.732" v="2576" actId="571"/>
          <ac:spMkLst>
            <pc:docMk/>
            <pc:sldMk cId="102353191" sldId="257383"/>
            <ac:spMk id="7" creationId="{8D90293C-4662-436F-B4E4-6D78AB2C51F3}"/>
          </ac:spMkLst>
        </pc:spChg>
        <pc:spChg chg="add mod">
          <ac:chgData name="Perez Diaz, Karen" userId="17027623-4de6-4c48-9453-394c2c5804f8" providerId="ADAL" clId="{7DA00FB3-E578-4F48-AE77-5756A10C46F7}" dt="2021-06-08T15:31:26.732" v="2576" actId="571"/>
          <ac:spMkLst>
            <pc:docMk/>
            <pc:sldMk cId="102353191" sldId="257383"/>
            <ac:spMk id="8" creationId="{7C90D92F-9AFF-4446-8CAF-891D3253132C}"/>
          </ac:spMkLst>
        </pc:spChg>
        <pc:spChg chg="add mod">
          <ac:chgData name="Perez Diaz, Karen" userId="17027623-4de6-4c48-9453-394c2c5804f8" providerId="ADAL" clId="{7DA00FB3-E578-4F48-AE77-5756A10C46F7}" dt="2021-06-08T15:31:26.732" v="2576" actId="571"/>
          <ac:spMkLst>
            <pc:docMk/>
            <pc:sldMk cId="102353191" sldId="257383"/>
            <ac:spMk id="9" creationId="{6B4558DE-5D62-4C27-8B85-0343C0538356}"/>
          </ac:spMkLst>
        </pc:spChg>
      </pc:sldChg>
      <pc:sldChg chg="modSp del mod">
        <pc:chgData name="Perez Diaz, Karen" userId="17027623-4de6-4c48-9453-394c2c5804f8" providerId="ADAL" clId="{7DA00FB3-E578-4F48-AE77-5756A10C46F7}" dt="2021-06-08T15:17:32.317" v="2411" actId="47"/>
        <pc:sldMkLst>
          <pc:docMk/>
          <pc:sldMk cId="3132974809" sldId="257384"/>
        </pc:sldMkLst>
        <pc:spChg chg="mod">
          <ac:chgData name="Perez Diaz, Karen" userId="17027623-4de6-4c48-9453-394c2c5804f8" providerId="ADAL" clId="{7DA00FB3-E578-4F48-AE77-5756A10C46F7}" dt="2021-06-08T15:10:45.046" v="1980" actId="20577"/>
          <ac:spMkLst>
            <pc:docMk/>
            <pc:sldMk cId="3132974809" sldId="257384"/>
            <ac:spMk id="6" creationId="{765C8A17-4138-4FFC-BF9C-9534159DAF65}"/>
          </ac:spMkLst>
        </pc:spChg>
      </pc:sldChg>
      <pc:sldChg chg="add">
        <pc:chgData name="Perez Diaz, Karen" userId="17027623-4de6-4c48-9453-394c2c5804f8" providerId="ADAL" clId="{7DA00FB3-E578-4F48-AE77-5756A10C46F7}" dt="2021-06-08T12:10:01.462" v="98"/>
        <pc:sldMkLst>
          <pc:docMk/>
          <pc:sldMk cId="2780201320" sldId="257385"/>
        </pc:sldMkLst>
      </pc:sldChg>
      <pc:sldChg chg="addSp delSp modSp new del mod modClrScheme chgLayout">
        <pc:chgData name="Perez Diaz, Karen" userId="17027623-4de6-4c48-9453-394c2c5804f8" providerId="ADAL" clId="{7DA00FB3-E578-4F48-AE77-5756A10C46F7}" dt="2021-06-08T12:09:57.963" v="97" actId="2696"/>
        <pc:sldMkLst>
          <pc:docMk/>
          <pc:sldMk cId="3370990458" sldId="257385"/>
        </pc:sldMkLst>
        <pc:spChg chg="add del">
          <ac:chgData name="Perez Diaz, Karen" userId="17027623-4de6-4c48-9453-394c2c5804f8" providerId="ADAL" clId="{7DA00FB3-E578-4F48-AE77-5756A10C46F7}" dt="2021-06-08T03:02:38.481" v="19" actId="26606"/>
          <ac:spMkLst>
            <pc:docMk/>
            <pc:sldMk cId="3370990458" sldId="257385"/>
            <ac:spMk id="2" creationId="{0607B428-4816-4D3D-AAF2-71030C6B1836}"/>
          </ac:spMkLst>
        </pc:spChg>
        <pc:spChg chg="del">
          <ac:chgData name="Perez Diaz, Karen" userId="17027623-4de6-4c48-9453-394c2c5804f8" providerId="ADAL" clId="{7DA00FB3-E578-4F48-AE77-5756A10C46F7}" dt="2021-06-08T03:02:07.125" v="3" actId="931"/>
          <ac:spMkLst>
            <pc:docMk/>
            <pc:sldMk cId="3370990458" sldId="257385"/>
            <ac:spMk id="3" creationId="{3AADD21C-22C5-44E8-8F67-720ACA837800}"/>
          </ac:spMkLst>
        </pc:spChg>
        <pc:spChg chg="add del mod">
          <ac:chgData name="Perez Diaz, Karen" userId="17027623-4de6-4c48-9453-394c2c5804f8" providerId="ADAL" clId="{7DA00FB3-E578-4F48-AE77-5756A10C46F7}" dt="2021-06-08T03:02:24.063" v="10" actId="26606"/>
          <ac:spMkLst>
            <pc:docMk/>
            <pc:sldMk cId="3370990458" sldId="257385"/>
            <ac:spMk id="7" creationId="{147DF851-DAB5-4BC1-B5B2-B886C281F1F8}"/>
          </ac:spMkLst>
        </pc:spChg>
        <pc:spChg chg="add mod">
          <ac:chgData name="Perez Diaz, Karen" userId="17027623-4de6-4c48-9453-394c2c5804f8" providerId="ADAL" clId="{7DA00FB3-E578-4F48-AE77-5756A10C46F7}" dt="2021-06-08T03:02:38.481" v="19" actId="26606"/>
          <ac:spMkLst>
            <pc:docMk/>
            <pc:sldMk cId="3370990458" sldId="257385"/>
            <ac:spMk id="8" creationId="{147DF851-DAB5-4BC1-B5B2-B886C281F1F8}"/>
          </ac:spMkLst>
        </pc:spChg>
        <pc:spChg chg="add del">
          <ac:chgData name="Perez Diaz, Karen" userId="17027623-4de6-4c48-9453-394c2c5804f8" providerId="ADAL" clId="{7DA00FB3-E578-4F48-AE77-5756A10C46F7}" dt="2021-06-08T03:02:25.949" v="12" actId="26606"/>
          <ac:spMkLst>
            <pc:docMk/>
            <pc:sldMk cId="3370990458" sldId="257385"/>
            <ac:spMk id="9" creationId="{D608F8F4-F600-4C2E-91D6-4124102DEA9C}"/>
          </ac:spMkLst>
        </pc:spChg>
        <pc:spChg chg="add del mod">
          <ac:chgData name="Perez Diaz, Karen" userId="17027623-4de6-4c48-9453-394c2c5804f8" providerId="ADAL" clId="{7DA00FB3-E578-4F48-AE77-5756A10C46F7}" dt="2021-06-08T03:02:20.895" v="6" actId="26606"/>
          <ac:spMkLst>
            <pc:docMk/>
            <pc:sldMk cId="3370990458" sldId="257385"/>
            <ac:spMk id="10" creationId="{3EDF26A1-5602-429A-9D81-345C1749AD68}"/>
          </ac:spMkLst>
        </pc:spChg>
        <pc:spChg chg="add del mod">
          <ac:chgData name="Perez Diaz, Karen" userId="17027623-4de6-4c48-9453-394c2c5804f8" providerId="ADAL" clId="{7DA00FB3-E578-4F48-AE77-5756A10C46F7}" dt="2021-06-08T03:02:28.369" v="14" actId="26606"/>
          <ac:spMkLst>
            <pc:docMk/>
            <pc:sldMk cId="3370990458" sldId="257385"/>
            <ac:spMk id="11" creationId="{496D5527-436F-4F58-B613-BB7FD247A347}"/>
          </ac:spMkLst>
        </pc:spChg>
        <pc:spChg chg="add del mod">
          <ac:chgData name="Perez Diaz, Karen" userId="17027623-4de6-4c48-9453-394c2c5804f8" providerId="ADAL" clId="{7DA00FB3-E578-4F48-AE77-5756A10C46F7}" dt="2021-06-08T03:02:28.369" v="14" actId="26606"/>
          <ac:spMkLst>
            <pc:docMk/>
            <pc:sldMk cId="3370990458" sldId="257385"/>
            <ac:spMk id="12" creationId="{C56DC61C-8C56-4BE1-A2D1-97BAC04BB612}"/>
          </ac:spMkLst>
        </pc:spChg>
        <pc:spChg chg="add del mod">
          <ac:chgData name="Perez Diaz, Karen" userId="17027623-4de6-4c48-9453-394c2c5804f8" providerId="ADAL" clId="{7DA00FB3-E578-4F48-AE77-5756A10C46F7}" dt="2021-06-08T03:02:31.830" v="16" actId="26606"/>
          <ac:spMkLst>
            <pc:docMk/>
            <pc:sldMk cId="3370990458" sldId="257385"/>
            <ac:spMk id="14" creationId="{3EDF26A1-5602-429A-9D81-345C1749AD68}"/>
          </ac:spMkLst>
        </pc:spChg>
        <pc:picChg chg="add mod">
          <ac:chgData name="Perez Diaz, Karen" userId="17027623-4de6-4c48-9453-394c2c5804f8" providerId="ADAL" clId="{7DA00FB3-E578-4F48-AE77-5756A10C46F7}" dt="2021-06-08T03:02:38.481" v="19" actId="26606"/>
          <ac:picMkLst>
            <pc:docMk/>
            <pc:sldMk cId="3370990458" sldId="257385"/>
            <ac:picMk id="5" creationId="{8A4B589F-82B4-448A-AEDE-628E9AB57DAD}"/>
          </ac:picMkLst>
        </pc:picChg>
      </pc:sldChg>
      <pc:sldChg chg="addSp delSp modSp new add del mod ord modClrScheme chgLayout">
        <pc:chgData name="Perez Diaz, Karen" userId="17027623-4de6-4c48-9453-394c2c5804f8" providerId="ADAL" clId="{7DA00FB3-E578-4F48-AE77-5756A10C46F7}" dt="2021-06-08T15:09:34.105" v="1976" actId="14100"/>
        <pc:sldMkLst>
          <pc:docMk/>
          <pc:sldMk cId="3716199674" sldId="257386"/>
        </pc:sldMkLst>
        <pc:spChg chg="del">
          <ac:chgData name="Perez Diaz, Karen" userId="17027623-4de6-4c48-9453-394c2c5804f8" providerId="ADAL" clId="{7DA00FB3-E578-4F48-AE77-5756A10C46F7}" dt="2021-06-08T03:06:36.638" v="27" actId="26606"/>
          <ac:spMkLst>
            <pc:docMk/>
            <pc:sldMk cId="3716199674" sldId="257386"/>
            <ac:spMk id="2" creationId="{86CBEED1-4C17-4730-A4B6-41A3D168FDFA}"/>
          </ac:spMkLst>
        </pc:spChg>
        <pc:spChg chg="del">
          <ac:chgData name="Perez Diaz, Karen" userId="17027623-4de6-4c48-9453-394c2c5804f8" providerId="ADAL" clId="{7DA00FB3-E578-4F48-AE77-5756A10C46F7}" dt="2021-06-08T03:05:53.831" v="21" actId="931"/>
          <ac:spMkLst>
            <pc:docMk/>
            <pc:sldMk cId="3716199674" sldId="257386"/>
            <ac:spMk id="3" creationId="{7BF578BF-B8D8-4945-945E-7F802E1EDA74}"/>
          </ac:spMkLst>
        </pc:spChg>
        <pc:spChg chg="add del mod">
          <ac:chgData name="Perez Diaz, Karen" userId="17027623-4de6-4c48-9453-394c2c5804f8" providerId="ADAL" clId="{7DA00FB3-E578-4F48-AE77-5756A10C46F7}" dt="2021-06-08T03:09:14.917" v="38" actId="26606"/>
          <ac:spMkLst>
            <pc:docMk/>
            <pc:sldMk cId="3716199674" sldId="257386"/>
            <ac:spMk id="10" creationId="{2DDF0FCA-C4F0-42D3-8069-72DF19F78651}"/>
          </ac:spMkLst>
        </pc:spChg>
        <pc:spChg chg="add mod">
          <ac:chgData name="Perez Diaz, Karen" userId="17027623-4de6-4c48-9453-394c2c5804f8" providerId="ADAL" clId="{7DA00FB3-E578-4F48-AE77-5756A10C46F7}" dt="2021-06-08T12:50:51.635" v="964" actId="27636"/>
          <ac:spMkLst>
            <pc:docMk/>
            <pc:sldMk cId="3716199674" sldId="257386"/>
            <ac:spMk id="15" creationId="{25E35A01-4DEF-4203-9C98-D09A24AE31B1}"/>
          </ac:spMkLst>
        </pc:spChg>
        <pc:picChg chg="add mod">
          <ac:chgData name="Perez Diaz, Karen" userId="17027623-4de6-4c48-9453-394c2c5804f8" providerId="ADAL" clId="{7DA00FB3-E578-4F48-AE77-5756A10C46F7}" dt="2021-06-08T15:09:34.105" v="1976" actId="14100"/>
          <ac:picMkLst>
            <pc:docMk/>
            <pc:sldMk cId="3716199674" sldId="257386"/>
            <ac:picMk id="5" creationId="{6043931B-C44C-453A-8591-A9261FACD4C4}"/>
          </ac:picMkLst>
        </pc:picChg>
      </pc:sldChg>
      <pc:sldChg chg="addSp delSp modSp new add del mod">
        <pc:chgData name="Perez Diaz, Karen" userId="17027623-4de6-4c48-9453-394c2c5804f8" providerId="ADAL" clId="{7DA00FB3-E578-4F48-AE77-5756A10C46F7}" dt="2021-06-08T12:09:57.963" v="97" actId="2696"/>
        <pc:sldMkLst>
          <pc:docMk/>
          <pc:sldMk cId="319905004" sldId="257387"/>
        </pc:sldMkLst>
        <pc:spChg chg="del">
          <ac:chgData name="Perez Diaz, Karen" userId="17027623-4de6-4c48-9453-394c2c5804f8" providerId="ADAL" clId="{7DA00FB3-E578-4F48-AE77-5756A10C46F7}" dt="2021-06-08T03:06:12.383" v="24" actId="931"/>
          <ac:spMkLst>
            <pc:docMk/>
            <pc:sldMk cId="319905004" sldId="257387"/>
            <ac:spMk id="3" creationId="{334FA5AE-AF2F-48A9-B2FA-5886CE09B151}"/>
          </ac:spMkLst>
        </pc:spChg>
        <pc:picChg chg="add mod">
          <ac:chgData name="Perez Diaz, Karen" userId="17027623-4de6-4c48-9453-394c2c5804f8" providerId="ADAL" clId="{7DA00FB3-E578-4F48-AE77-5756A10C46F7}" dt="2021-06-08T03:06:14.973" v="26" actId="962"/>
          <ac:picMkLst>
            <pc:docMk/>
            <pc:sldMk cId="319905004" sldId="257387"/>
            <ac:picMk id="5" creationId="{EE9A6A63-E3C2-4C1C-81FF-AAB427DBB4F7}"/>
          </ac:picMkLst>
        </pc:picChg>
      </pc:sldChg>
      <pc:sldChg chg="add">
        <pc:chgData name="Perez Diaz, Karen" userId="17027623-4de6-4c48-9453-394c2c5804f8" providerId="ADAL" clId="{7DA00FB3-E578-4F48-AE77-5756A10C46F7}" dt="2021-06-08T12:10:01.462" v="98"/>
        <pc:sldMkLst>
          <pc:docMk/>
          <pc:sldMk cId="432149071" sldId="257387"/>
        </pc:sldMkLst>
      </pc:sldChg>
      <pc:sldChg chg="addSp delSp modSp new del mod">
        <pc:chgData name="Perez Diaz, Karen" userId="17027623-4de6-4c48-9453-394c2c5804f8" providerId="ADAL" clId="{7DA00FB3-E578-4F48-AE77-5756A10C46F7}" dt="2021-06-08T03:09:52.399" v="92" actId="47"/>
        <pc:sldMkLst>
          <pc:docMk/>
          <pc:sldMk cId="3069196198" sldId="257388"/>
        </pc:sldMkLst>
        <pc:spChg chg="del">
          <ac:chgData name="Perez Diaz, Karen" userId="17027623-4de6-4c48-9453-394c2c5804f8" providerId="ADAL" clId="{7DA00FB3-E578-4F48-AE77-5756A10C46F7}" dt="2021-06-08T03:08:12.562" v="29" actId="931"/>
          <ac:spMkLst>
            <pc:docMk/>
            <pc:sldMk cId="3069196198" sldId="257388"/>
            <ac:spMk id="3" creationId="{C0A6AB59-7EBB-4B20-A79B-D9BFC29BE29E}"/>
          </ac:spMkLst>
        </pc:spChg>
        <pc:spChg chg="del mod">
          <ac:chgData name="Perez Diaz, Karen" userId="17027623-4de6-4c48-9453-394c2c5804f8" providerId="ADAL" clId="{7DA00FB3-E578-4F48-AE77-5756A10C46F7}" dt="2021-06-08T03:08:26.090" v="32" actId="931"/>
          <ac:spMkLst>
            <pc:docMk/>
            <pc:sldMk cId="3069196198" sldId="257388"/>
            <ac:spMk id="4" creationId="{3DA912B4-C070-4478-92D6-02B39F594782}"/>
          </ac:spMkLst>
        </pc:spChg>
        <pc:picChg chg="add mod">
          <ac:chgData name="Perez Diaz, Karen" userId="17027623-4de6-4c48-9453-394c2c5804f8" providerId="ADAL" clId="{7DA00FB3-E578-4F48-AE77-5756A10C46F7}" dt="2021-06-08T03:08:48.525" v="36" actId="1076"/>
          <ac:picMkLst>
            <pc:docMk/>
            <pc:sldMk cId="3069196198" sldId="257388"/>
            <ac:picMk id="6" creationId="{EE5201C8-2EB4-494A-BBE1-3CADCB683394}"/>
          </ac:picMkLst>
        </pc:picChg>
        <pc:picChg chg="add mod">
          <ac:chgData name="Perez Diaz, Karen" userId="17027623-4de6-4c48-9453-394c2c5804f8" providerId="ADAL" clId="{7DA00FB3-E578-4F48-AE77-5756A10C46F7}" dt="2021-06-08T03:08:51.156" v="37" actId="1076"/>
          <ac:picMkLst>
            <pc:docMk/>
            <pc:sldMk cId="3069196198" sldId="257388"/>
            <ac:picMk id="8" creationId="{C3DBFA8E-9755-42D3-85B2-C887399E64C9}"/>
          </ac:picMkLst>
        </pc:picChg>
      </pc:sldChg>
      <pc:sldChg chg="modSp add mod">
        <pc:chgData name="Perez Diaz, Karen" userId="17027623-4de6-4c48-9453-394c2c5804f8" providerId="ADAL" clId="{7DA00FB3-E578-4F48-AE77-5756A10C46F7}" dt="2021-06-08T12:37:06.890" v="702" actId="20577"/>
        <pc:sldMkLst>
          <pc:docMk/>
          <pc:sldMk cId="3091135045" sldId="257388"/>
        </pc:sldMkLst>
        <pc:spChg chg="mod">
          <ac:chgData name="Perez Diaz, Karen" userId="17027623-4de6-4c48-9453-394c2c5804f8" providerId="ADAL" clId="{7DA00FB3-E578-4F48-AE77-5756A10C46F7}" dt="2021-06-08T12:37:06.890" v="702" actId="20577"/>
          <ac:spMkLst>
            <pc:docMk/>
            <pc:sldMk cId="3091135045" sldId="257388"/>
            <ac:spMk id="2" creationId="{B872A945-E229-47E2-BC86-6752E4AEADE8}"/>
          </ac:spMkLst>
        </pc:spChg>
        <pc:spChg chg="mod">
          <ac:chgData name="Perez Diaz, Karen" userId="17027623-4de6-4c48-9453-394c2c5804f8" providerId="ADAL" clId="{7DA00FB3-E578-4F48-AE77-5756A10C46F7}" dt="2021-06-08T12:37:03.394" v="699" actId="6549"/>
          <ac:spMkLst>
            <pc:docMk/>
            <pc:sldMk cId="3091135045" sldId="257388"/>
            <ac:spMk id="3" creationId="{917169DB-B556-4406-9CE3-73B84E7E230A}"/>
          </ac:spMkLst>
        </pc:spChg>
      </pc:sldChg>
      <pc:sldChg chg="addSp delSp modSp add mod modClrScheme chgLayout">
        <pc:chgData name="Perez Diaz, Karen" userId="17027623-4de6-4c48-9453-394c2c5804f8" providerId="ADAL" clId="{7DA00FB3-E578-4F48-AE77-5756A10C46F7}" dt="2021-06-08T12:48:11.317" v="838" actId="20577"/>
        <pc:sldMkLst>
          <pc:docMk/>
          <pc:sldMk cId="1681002253" sldId="257389"/>
        </pc:sldMkLst>
        <pc:spChg chg="mod">
          <ac:chgData name="Perez Diaz, Karen" userId="17027623-4de6-4c48-9453-394c2c5804f8" providerId="ADAL" clId="{7DA00FB3-E578-4F48-AE77-5756A10C46F7}" dt="2021-06-08T12:42:39.612" v="770" actId="26606"/>
          <ac:spMkLst>
            <pc:docMk/>
            <pc:sldMk cId="1681002253" sldId="257389"/>
            <ac:spMk id="2" creationId="{FE6D2355-18CD-492B-9CF1-09E01E2B7F13}"/>
          </ac:spMkLst>
        </pc:spChg>
        <pc:spChg chg="del mod">
          <ac:chgData name="Perez Diaz, Karen" userId="17027623-4de6-4c48-9453-394c2c5804f8" providerId="ADAL" clId="{7DA00FB3-E578-4F48-AE77-5756A10C46F7}" dt="2021-06-08T12:39:16.537" v="730"/>
          <ac:spMkLst>
            <pc:docMk/>
            <pc:sldMk cId="1681002253" sldId="257389"/>
            <ac:spMk id="3" creationId="{EE1E7389-1C96-40E8-87FF-38937D89B34F}"/>
          </ac:spMkLst>
        </pc:spChg>
        <pc:spChg chg="add del mod">
          <ac:chgData name="Perez Diaz, Karen" userId="17027623-4de6-4c48-9453-394c2c5804f8" providerId="ADAL" clId="{7DA00FB3-E578-4F48-AE77-5756A10C46F7}" dt="2021-06-08T12:42:19.853" v="760" actId="478"/>
          <ac:spMkLst>
            <pc:docMk/>
            <pc:sldMk cId="1681002253" sldId="257389"/>
            <ac:spMk id="4" creationId="{39701C88-A664-4435-A6E3-1D28C101D72B}"/>
          </ac:spMkLst>
        </pc:spChg>
        <pc:spChg chg="mod ord">
          <ac:chgData name="Perez Diaz, Karen" userId="17027623-4de6-4c48-9453-394c2c5804f8" providerId="ADAL" clId="{7DA00FB3-E578-4F48-AE77-5756A10C46F7}" dt="2021-06-08T12:48:11.317" v="838" actId="20577"/>
          <ac:spMkLst>
            <pc:docMk/>
            <pc:sldMk cId="1681002253" sldId="257389"/>
            <ac:spMk id="6" creationId="{765C8A17-4138-4FFC-BF9C-9534159DAF65}"/>
          </ac:spMkLst>
        </pc:spChg>
        <pc:spChg chg="add mod ord">
          <ac:chgData name="Perez Diaz, Karen" userId="17027623-4de6-4c48-9453-394c2c5804f8" providerId="ADAL" clId="{7DA00FB3-E578-4F48-AE77-5756A10C46F7}" dt="2021-06-08T12:42:46.871" v="778" actId="1036"/>
          <ac:spMkLst>
            <pc:docMk/>
            <pc:sldMk cId="1681002253" sldId="257389"/>
            <ac:spMk id="10" creationId="{1F4BC1D6-3133-42C4-B4A1-97CB6F26487D}"/>
          </ac:spMkLst>
        </pc:spChg>
        <pc:spChg chg="add del mod">
          <ac:chgData name="Perez Diaz, Karen" userId="17027623-4de6-4c48-9453-394c2c5804f8" providerId="ADAL" clId="{7DA00FB3-E578-4F48-AE77-5756A10C46F7}" dt="2021-06-08T12:42:39.612" v="770" actId="26606"/>
          <ac:spMkLst>
            <pc:docMk/>
            <pc:sldMk cId="1681002253" sldId="257389"/>
            <ac:spMk id="17" creationId="{5078E204-A25A-46F8-BAE8-B26774AB9907}"/>
          </ac:spMkLst>
        </pc:spChg>
        <pc:picChg chg="add del mod">
          <ac:chgData name="Perez Diaz, Karen" userId="17027623-4de6-4c48-9453-394c2c5804f8" providerId="ADAL" clId="{7DA00FB3-E578-4F48-AE77-5756A10C46F7}" dt="2021-06-08T12:38:00.842" v="713"/>
          <ac:picMkLst>
            <pc:docMk/>
            <pc:sldMk cId="1681002253" sldId="257389"/>
            <ac:picMk id="7" creationId="{78C3863C-3F4C-4737-920D-BAB95F28EBCD}"/>
          </ac:picMkLst>
        </pc:picChg>
        <pc:picChg chg="add del mod">
          <ac:chgData name="Perez Diaz, Karen" userId="17027623-4de6-4c48-9453-394c2c5804f8" providerId="ADAL" clId="{7DA00FB3-E578-4F48-AE77-5756A10C46F7}" dt="2021-06-08T12:38:40.350" v="725" actId="478"/>
          <ac:picMkLst>
            <pc:docMk/>
            <pc:sldMk cId="1681002253" sldId="257389"/>
            <ac:picMk id="8" creationId="{7B75B17F-E9B8-4990-87A6-CBC9D559F214}"/>
          </ac:picMkLst>
        </pc:picChg>
        <pc:picChg chg="add del mod">
          <ac:chgData name="Perez Diaz, Karen" userId="17027623-4de6-4c48-9453-394c2c5804f8" providerId="ADAL" clId="{7DA00FB3-E578-4F48-AE77-5756A10C46F7}" dt="2021-06-08T12:40:03.674" v="736" actId="21"/>
          <ac:picMkLst>
            <pc:docMk/>
            <pc:sldMk cId="1681002253" sldId="257389"/>
            <ac:picMk id="9" creationId="{2BC3E901-1A4A-4060-AAA2-F9190773B3CB}"/>
          </ac:picMkLst>
        </pc:picChg>
        <pc:picChg chg="add del mod">
          <ac:chgData name="Perez Diaz, Karen" userId="17027623-4de6-4c48-9453-394c2c5804f8" providerId="ADAL" clId="{7DA00FB3-E578-4F48-AE77-5756A10C46F7}" dt="2021-06-08T12:42:16.438" v="759" actId="21"/>
          <ac:picMkLst>
            <pc:docMk/>
            <pc:sldMk cId="1681002253" sldId="257389"/>
            <ac:picMk id="11" creationId="{5B96D122-0CFA-4C22-AA75-8D7B22A74037}"/>
          </ac:picMkLst>
        </pc:picChg>
        <pc:picChg chg="add mod">
          <ac:chgData name="Perez Diaz, Karen" userId="17027623-4de6-4c48-9453-394c2c5804f8" providerId="ADAL" clId="{7DA00FB3-E578-4F48-AE77-5756A10C46F7}" dt="2021-06-08T12:42:39.612" v="770" actId="26606"/>
          <ac:picMkLst>
            <pc:docMk/>
            <pc:sldMk cId="1681002253" sldId="257389"/>
            <ac:picMk id="12" creationId="{5E08B843-F0C8-494F-A07F-BBE91BF09C0A}"/>
          </ac:picMkLst>
        </pc:picChg>
      </pc:sldChg>
      <pc:sldChg chg="add">
        <pc:chgData name="Perez Diaz, Karen" userId="17027623-4de6-4c48-9453-394c2c5804f8" providerId="ADAL" clId="{7DA00FB3-E578-4F48-AE77-5756A10C46F7}" dt="2021-06-08T15:43:41.190" v="2744"/>
        <pc:sldMkLst>
          <pc:docMk/>
          <pc:sldMk cId="320982266" sldId="257390"/>
        </pc:sldMkLst>
      </pc:sldChg>
      <pc:sldChg chg="addSp modSp add del mod">
        <pc:chgData name="Perez Diaz, Karen" userId="17027623-4de6-4c48-9453-394c2c5804f8" providerId="ADAL" clId="{7DA00FB3-E578-4F48-AE77-5756A10C46F7}" dt="2021-06-08T15:43:38.662" v="2743" actId="2696"/>
        <pc:sldMkLst>
          <pc:docMk/>
          <pc:sldMk cId="2956038763" sldId="257390"/>
        </pc:sldMkLst>
        <pc:spChg chg="mod">
          <ac:chgData name="Perez Diaz, Karen" userId="17027623-4de6-4c48-9453-394c2c5804f8" providerId="ADAL" clId="{7DA00FB3-E578-4F48-AE77-5756A10C46F7}" dt="2021-06-08T15:11:14.858" v="1982"/>
          <ac:spMkLst>
            <pc:docMk/>
            <pc:sldMk cId="2956038763" sldId="257390"/>
            <ac:spMk id="2" creationId="{FE6D2355-18CD-492B-9CF1-09E01E2B7F13}"/>
          </ac:spMkLst>
        </pc:spChg>
        <pc:spChg chg="mod">
          <ac:chgData name="Perez Diaz, Karen" userId="17027623-4de6-4c48-9453-394c2c5804f8" providerId="ADAL" clId="{7DA00FB3-E578-4F48-AE77-5756A10C46F7}" dt="2021-06-08T15:12:00.105" v="1992"/>
          <ac:spMkLst>
            <pc:docMk/>
            <pc:sldMk cId="2956038763" sldId="257390"/>
            <ac:spMk id="3" creationId="{EE1E7389-1C96-40E8-87FF-38937D89B34F}"/>
          </ac:spMkLst>
        </pc:spChg>
        <pc:spChg chg="mod">
          <ac:chgData name="Perez Diaz, Karen" userId="17027623-4de6-4c48-9453-394c2c5804f8" providerId="ADAL" clId="{7DA00FB3-E578-4F48-AE77-5756A10C46F7}" dt="2021-06-08T15:35:33.483" v="2667" actId="208"/>
          <ac:spMkLst>
            <pc:docMk/>
            <pc:sldMk cId="2956038763" sldId="257390"/>
            <ac:spMk id="4" creationId="{39701C88-A664-4435-A6E3-1D28C101D72B}"/>
          </ac:spMkLst>
        </pc:spChg>
        <pc:spChg chg="add mod">
          <ac:chgData name="Perez Diaz, Karen" userId="17027623-4de6-4c48-9453-394c2c5804f8" providerId="ADAL" clId="{7DA00FB3-E578-4F48-AE77-5756A10C46F7}" dt="2021-06-08T15:34:58.948" v="2664" actId="1076"/>
          <ac:spMkLst>
            <pc:docMk/>
            <pc:sldMk cId="2956038763" sldId="257390"/>
            <ac:spMk id="5" creationId="{B6FB914F-E3BA-4B4C-A41C-D2DE61B16A2A}"/>
          </ac:spMkLst>
        </pc:spChg>
        <pc:spChg chg="mod">
          <ac:chgData name="Perez Diaz, Karen" userId="17027623-4de6-4c48-9453-394c2c5804f8" providerId="ADAL" clId="{7DA00FB3-E578-4F48-AE77-5756A10C46F7}" dt="2021-06-08T15:33:41.652" v="2655" actId="1076"/>
          <ac:spMkLst>
            <pc:docMk/>
            <pc:sldMk cId="2956038763" sldId="257390"/>
            <ac:spMk id="6" creationId="{765C8A17-4138-4FFC-BF9C-9534159DAF65}"/>
          </ac:spMkLst>
        </pc:spChg>
        <pc:spChg chg="add mod">
          <ac:chgData name="Perez Diaz, Karen" userId="17027623-4de6-4c48-9453-394c2c5804f8" providerId="ADAL" clId="{7DA00FB3-E578-4F48-AE77-5756A10C46F7}" dt="2021-06-08T15:36:38.668" v="2676" actId="113"/>
          <ac:spMkLst>
            <pc:docMk/>
            <pc:sldMk cId="2956038763" sldId="257390"/>
            <ac:spMk id="7" creationId="{E066831C-690A-47D6-8203-083462CAFF73}"/>
          </ac:spMkLst>
        </pc:spChg>
      </pc:sldChg>
      <pc:sldChg chg="addSp delSp modSp add mod">
        <pc:chgData name="Perez Diaz, Karen" userId="17027623-4de6-4c48-9453-394c2c5804f8" providerId="ADAL" clId="{7DA00FB3-E578-4F48-AE77-5756A10C46F7}" dt="2021-06-08T15:49:53.117" v="2886" actId="478"/>
        <pc:sldMkLst>
          <pc:docMk/>
          <pc:sldMk cId="4204728128" sldId="257391"/>
        </pc:sldMkLst>
        <pc:spChg chg="del mod">
          <ac:chgData name="Perez Diaz, Karen" userId="17027623-4de6-4c48-9453-394c2c5804f8" providerId="ADAL" clId="{7DA00FB3-E578-4F48-AE77-5756A10C46F7}" dt="2021-06-08T15:38:06.821" v="2681" actId="1032"/>
          <ac:spMkLst>
            <pc:docMk/>
            <pc:sldMk cId="4204728128" sldId="257391"/>
            <ac:spMk id="3" creationId="{EE1E7389-1C96-40E8-87FF-38937D89B34F}"/>
          </ac:spMkLst>
        </pc:spChg>
        <pc:spChg chg="del mod">
          <ac:chgData name="Perez Diaz, Karen" userId="17027623-4de6-4c48-9453-394c2c5804f8" providerId="ADAL" clId="{7DA00FB3-E578-4F48-AE77-5756A10C46F7}" dt="2021-06-08T15:38:27.138" v="2686" actId="478"/>
          <ac:spMkLst>
            <pc:docMk/>
            <pc:sldMk cId="4204728128" sldId="257391"/>
            <ac:spMk id="4" creationId="{39701C88-A664-4435-A6E3-1D28C101D72B}"/>
          </ac:spMkLst>
        </pc:spChg>
        <pc:spChg chg="del">
          <ac:chgData name="Perez Diaz, Karen" userId="17027623-4de6-4c48-9453-394c2c5804f8" providerId="ADAL" clId="{7DA00FB3-E578-4F48-AE77-5756A10C46F7}" dt="2021-06-08T15:37:20.905" v="2679" actId="478"/>
          <ac:spMkLst>
            <pc:docMk/>
            <pc:sldMk cId="4204728128" sldId="257391"/>
            <ac:spMk id="5" creationId="{B6FB914F-E3BA-4B4C-A41C-D2DE61B16A2A}"/>
          </ac:spMkLst>
        </pc:spChg>
        <pc:spChg chg="mod">
          <ac:chgData name="Perez Diaz, Karen" userId="17027623-4de6-4c48-9453-394c2c5804f8" providerId="ADAL" clId="{7DA00FB3-E578-4F48-AE77-5756A10C46F7}" dt="2021-06-08T15:45:07.842" v="2764" actId="1036"/>
          <ac:spMkLst>
            <pc:docMk/>
            <pc:sldMk cId="4204728128" sldId="257391"/>
            <ac:spMk id="7" creationId="{E066831C-690A-47D6-8203-083462CAFF73}"/>
          </ac:spMkLst>
        </pc:spChg>
        <pc:spChg chg="add del mod">
          <ac:chgData name="Perez Diaz, Karen" userId="17027623-4de6-4c48-9453-394c2c5804f8" providerId="ADAL" clId="{7DA00FB3-E578-4F48-AE77-5756A10C46F7}" dt="2021-06-08T15:38:30.267" v="2687" actId="478"/>
          <ac:spMkLst>
            <pc:docMk/>
            <pc:sldMk cId="4204728128" sldId="257391"/>
            <ac:spMk id="10" creationId="{2BF4476F-540A-4845-BCCB-3E3242E964A6}"/>
          </ac:spMkLst>
        </pc:spChg>
        <pc:spChg chg="add del">
          <ac:chgData name="Perez Diaz, Karen" userId="17027623-4de6-4c48-9453-394c2c5804f8" providerId="ADAL" clId="{7DA00FB3-E578-4F48-AE77-5756A10C46F7}" dt="2021-06-08T15:47:35.445" v="2865"/>
          <ac:spMkLst>
            <pc:docMk/>
            <pc:sldMk cId="4204728128" sldId="257391"/>
            <ac:spMk id="11" creationId="{43DDAE84-F0FA-4BB4-87B5-DCFD3E6D5F9B}"/>
          </ac:spMkLst>
        </pc:spChg>
        <pc:spChg chg="add del mod">
          <ac:chgData name="Perez Diaz, Karen" userId="17027623-4de6-4c48-9453-394c2c5804f8" providerId="ADAL" clId="{7DA00FB3-E578-4F48-AE77-5756A10C46F7}" dt="2021-06-08T15:49:53.117" v="2886" actId="478"/>
          <ac:spMkLst>
            <pc:docMk/>
            <pc:sldMk cId="4204728128" sldId="257391"/>
            <ac:spMk id="12" creationId="{16182557-B07D-4D2F-9EC6-110A606621C4}"/>
          </ac:spMkLst>
        </pc:spChg>
        <pc:graphicFrameChg chg="add mod">
          <ac:chgData name="Perez Diaz, Karen" userId="17027623-4de6-4c48-9453-394c2c5804f8" providerId="ADAL" clId="{7DA00FB3-E578-4F48-AE77-5756A10C46F7}" dt="2021-06-08T15:47:30.717" v="2863" actId="20577"/>
          <ac:graphicFrameMkLst>
            <pc:docMk/>
            <pc:sldMk cId="4204728128" sldId="257391"/>
            <ac:graphicFrameMk id="8" creationId="{21AE6F85-A79E-47AA-B7F7-FCE4B2193B04}"/>
          </ac:graphicFrameMkLst>
        </pc:graphicFrameChg>
      </pc:sldChg>
      <pc:sldMasterChg chg="addSldLayout delSldLayout">
        <pc:chgData name="Perez Diaz, Karen" userId="17027623-4de6-4c48-9453-394c2c5804f8" providerId="ADAL" clId="{7DA00FB3-E578-4F48-AE77-5756A10C46F7}" dt="2021-06-08T12:09:54.678" v="96" actId="2696"/>
        <pc:sldMasterMkLst>
          <pc:docMk/>
          <pc:sldMasterMk cId="4106976396" sldId="2147483827"/>
        </pc:sldMasterMkLst>
        <pc:sldLayoutChg chg="add del">
          <pc:chgData name="Perez Diaz, Karen" userId="17027623-4de6-4c48-9453-394c2c5804f8" providerId="ADAL" clId="{7DA00FB3-E578-4F48-AE77-5756A10C46F7}" dt="2021-06-08T12:09:54.678" v="96" actId="2696"/>
          <pc:sldLayoutMkLst>
            <pc:docMk/>
            <pc:sldMasterMk cId="4106976396" sldId="2147483827"/>
            <pc:sldLayoutMk cId="4092626571" sldId="2147483864"/>
          </pc:sldLayoutMkLst>
        </pc:sldLayoutChg>
      </pc:sldMasterChg>
    </pc:docChg>
  </pc:docChgLst>
  <pc:docChgLst>
    <pc:chgData name="Perez Diaz, Karen" userId="17027623-4de6-4c48-9453-394c2c5804f8" providerId="ADAL" clId="{4BF1ECF9-06C0-4183-BD27-A908736379B4}"/>
    <pc:docChg chg="undo custSel modSld">
      <pc:chgData name="Perez Diaz, Karen" userId="17027623-4de6-4c48-9453-394c2c5804f8" providerId="ADAL" clId="{4BF1ECF9-06C0-4183-BD27-A908736379B4}" dt="2021-06-23T21:16:19.334" v="474" actId="6549"/>
      <pc:docMkLst>
        <pc:docMk/>
      </pc:docMkLst>
      <pc:sldChg chg="modSp mod">
        <pc:chgData name="Perez Diaz, Karen" userId="17027623-4de6-4c48-9453-394c2c5804f8" providerId="ADAL" clId="{4BF1ECF9-06C0-4183-BD27-A908736379B4}" dt="2021-06-23T21:16:19.334" v="474" actId="6549"/>
        <pc:sldMkLst>
          <pc:docMk/>
          <pc:sldMk cId="4291523258" sldId="257379"/>
        </pc:sldMkLst>
        <pc:spChg chg="mod">
          <ac:chgData name="Perez Diaz, Karen" userId="17027623-4de6-4c48-9453-394c2c5804f8" providerId="ADAL" clId="{4BF1ECF9-06C0-4183-BD27-A908736379B4}" dt="2021-06-23T21:16:19.334" v="474" actId="6549"/>
          <ac:spMkLst>
            <pc:docMk/>
            <pc:sldMk cId="4291523258" sldId="257379"/>
            <ac:spMk id="3" creationId="{917169DB-B556-4406-9CE3-73B84E7E230A}"/>
          </ac:spMkLst>
        </pc:spChg>
      </pc:sldChg>
    </pc:docChg>
  </pc:docChgLst>
  <pc:docChgLst>
    <pc:chgData name="Perez Diaz, Karen" userId="17027623-4de6-4c48-9453-394c2c5804f8" providerId="ADAL" clId="{125B4060-2B6F-4057-BBAC-C886486E54D1}"/>
    <pc:docChg chg="undo custSel addSld delSld modSld sldOrd">
      <pc:chgData name="Perez Diaz, Karen" userId="17027623-4de6-4c48-9453-394c2c5804f8" providerId="ADAL" clId="{125B4060-2B6F-4057-BBAC-C886486E54D1}" dt="2021-02-04T20:20:43.536" v="768" actId="6549"/>
      <pc:docMkLst>
        <pc:docMk/>
      </pc:docMkLst>
      <pc:sldChg chg="addSp delSp modSp add del">
        <pc:chgData name="Perez Diaz, Karen" userId="17027623-4de6-4c48-9453-394c2c5804f8" providerId="ADAL" clId="{125B4060-2B6F-4057-BBAC-C886486E54D1}" dt="2021-02-04T20:12:18.533" v="665" actId="2696"/>
        <pc:sldMkLst>
          <pc:docMk/>
          <pc:sldMk cId="1131813830" sldId="298"/>
        </pc:sldMkLst>
        <pc:spChg chg="add del mod">
          <ac:chgData name="Perez Diaz, Karen" userId="17027623-4de6-4c48-9453-394c2c5804f8" providerId="ADAL" clId="{125B4060-2B6F-4057-BBAC-C886486E54D1}" dt="2021-02-04T20:11:28.398" v="659" actId="478"/>
          <ac:spMkLst>
            <pc:docMk/>
            <pc:sldMk cId="1131813830" sldId="298"/>
            <ac:spMk id="2" creationId="{00000000-0000-0000-0000-000000000000}"/>
          </ac:spMkLst>
        </pc:spChg>
        <pc:spChg chg="del mod">
          <ac:chgData name="Perez Diaz, Karen" userId="17027623-4de6-4c48-9453-394c2c5804f8" providerId="ADAL" clId="{125B4060-2B6F-4057-BBAC-C886486E54D1}" dt="2021-02-04T19:51:55.354" v="314" actId="478"/>
          <ac:spMkLst>
            <pc:docMk/>
            <pc:sldMk cId="1131813830" sldId="298"/>
            <ac:spMk id="3" creationId="{00000000-0000-0000-0000-000000000000}"/>
          </ac:spMkLst>
        </pc:spChg>
        <pc:spChg chg="del topLvl">
          <ac:chgData name="Perez Diaz, Karen" userId="17027623-4de6-4c48-9453-394c2c5804f8" providerId="ADAL" clId="{125B4060-2B6F-4057-BBAC-C886486E54D1}" dt="2021-02-04T19:45:28.767" v="41" actId="478"/>
          <ac:spMkLst>
            <pc:docMk/>
            <pc:sldMk cId="1131813830" sldId="298"/>
            <ac:spMk id="7" creationId="{00000000-0000-0000-0000-000000000000}"/>
          </ac:spMkLst>
        </pc:spChg>
        <pc:spChg chg="del topLvl">
          <ac:chgData name="Perez Diaz, Karen" userId="17027623-4de6-4c48-9453-394c2c5804f8" providerId="ADAL" clId="{125B4060-2B6F-4057-BBAC-C886486E54D1}" dt="2021-02-04T19:45:31.225" v="42" actId="478"/>
          <ac:spMkLst>
            <pc:docMk/>
            <pc:sldMk cId="1131813830" sldId="298"/>
            <ac:spMk id="8" creationId="{00000000-0000-0000-0000-000000000000}"/>
          </ac:spMkLst>
        </pc:spChg>
        <pc:spChg chg="add del">
          <ac:chgData name="Perez Diaz, Karen" userId="17027623-4de6-4c48-9453-394c2c5804f8" providerId="ADAL" clId="{125B4060-2B6F-4057-BBAC-C886486E54D1}" dt="2021-02-04T20:11:29.247" v="660"/>
          <ac:spMkLst>
            <pc:docMk/>
            <pc:sldMk cId="1131813830" sldId="298"/>
            <ac:spMk id="9" creationId="{EF76125A-0A11-48DE-BBB9-FBCE60E6ED45}"/>
          </ac:spMkLst>
        </pc:spChg>
        <pc:spChg chg="add del mod">
          <ac:chgData name="Perez Diaz, Karen" userId="17027623-4de6-4c48-9453-394c2c5804f8" providerId="ADAL" clId="{125B4060-2B6F-4057-BBAC-C886486E54D1}" dt="2021-02-04T20:11:28.398" v="659" actId="478"/>
          <ac:spMkLst>
            <pc:docMk/>
            <pc:sldMk cId="1131813830" sldId="298"/>
            <ac:spMk id="11" creationId="{9AA0D901-8BDE-47AF-B0FF-32FA4B610175}"/>
          </ac:spMkLst>
        </pc:spChg>
        <pc:grpChg chg="del">
          <ac:chgData name="Perez Diaz, Karen" userId="17027623-4de6-4c48-9453-394c2c5804f8" providerId="ADAL" clId="{125B4060-2B6F-4057-BBAC-C886486E54D1}" dt="2021-02-04T19:45:28.767" v="41" actId="478"/>
          <ac:grpSpMkLst>
            <pc:docMk/>
            <pc:sldMk cId="1131813830" sldId="298"/>
            <ac:grpSpMk id="6" creationId="{00000000-0000-0000-0000-000000000000}"/>
          </ac:grpSpMkLst>
        </pc:grpChg>
        <pc:graphicFrameChg chg="mod modGraphic">
          <ac:chgData name="Perez Diaz, Karen" userId="17027623-4de6-4c48-9453-394c2c5804f8" providerId="ADAL" clId="{125B4060-2B6F-4057-BBAC-C886486E54D1}" dt="2021-02-04T20:10:21.458" v="651" actId="255"/>
          <ac:graphicFrameMkLst>
            <pc:docMk/>
            <pc:sldMk cId="1131813830" sldId="298"/>
            <ac:graphicFrameMk id="5" creationId="{70F9371E-F78A-4060-92E1-259C0C348C60}"/>
          </ac:graphicFrameMkLst>
        </pc:graphicFrameChg>
      </pc:sldChg>
      <pc:sldChg chg="modSp del ord">
        <pc:chgData name="Perez Diaz, Karen" userId="17027623-4de6-4c48-9453-394c2c5804f8" providerId="ADAL" clId="{125B4060-2B6F-4057-BBAC-C886486E54D1}" dt="2021-02-04T20:17:02.134" v="692" actId="2696"/>
        <pc:sldMkLst>
          <pc:docMk/>
          <pc:sldMk cId="1278736077" sldId="660"/>
        </pc:sldMkLst>
        <pc:graphicFrameChg chg="mod modGraphic">
          <ac:chgData name="Perez Diaz, Karen" userId="17027623-4de6-4c48-9453-394c2c5804f8" providerId="ADAL" clId="{125B4060-2B6F-4057-BBAC-C886486E54D1}" dt="2021-02-04T20:10:36.860" v="653" actId="14734"/>
          <ac:graphicFrameMkLst>
            <pc:docMk/>
            <pc:sldMk cId="1278736077" sldId="660"/>
            <ac:graphicFrameMk id="4" creationId="{00000000-0000-0000-0000-000000000000}"/>
          </ac:graphicFrameMkLst>
        </pc:graphicFrameChg>
      </pc:sldChg>
      <pc:sldChg chg="del">
        <pc:chgData name="Perez Diaz, Karen" userId="17027623-4de6-4c48-9453-394c2c5804f8" providerId="ADAL" clId="{125B4060-2B6F-4057-BBAC-C886486E54D1}" dt="2021-02-04T19:37:54.536" v="0" actId="2696"/>
        <pc:sldMkLst>
          <pc:docMk/>
          <pc:sldMk cId="240251484" sldId="742"/>
        </pc:sldMkLst>
      </pc:sldChg>
      <pc:sldChg chg="modSp add">
        <pc:chgData name="Perez Diaz, Karen" userId="17027623-4de6-4c48-9453-394c2c5804f8" providerId="ADAL" clId="{125B4060-2B6F-4057-BBAC-C886486E54D1}" dt="2021-02-04T20:18:06.252" v="707" actId="20577"/>
        <pc:sldMkLst>
          <pc:docMk/>
          <pc:sldMk cId="3777260829" sldId="742"/>
        </pc:sldMkLst>
        <pc:spChg chg="mod">
          <ac:chgData name="Perez Diaz, Karen" userId="17027623-4de6-4c48-9453-394c2c5804f8" providerId="ADAL" clId="{125B4060-2B6F-4057-BBAC-C886486E54D1}" dt="2021-02-04T20:18:06.252" v="707" actId="20577"/>
          <ac:spMkLst>
            <pc:docMk/>
            <pc:sldMk cId="3777260829" sldId="742"/>
            <ac:spMk id="2" creationId="{EEB2DB48-F55E-46AE-9540-691925464E4C}"/>
          </ac:spMkLst>
        </pc:spChg>
      </pc:sldChg>
      <pc:sldChg chg="modSp add">
        <pc:chgData name="Perez Diaz, Karen" userId="17027623-4de6-4c48-9453-394c2c5804f8" providerId="ADAL" clId="{125B4060-2B6F-4057-BBAC-C886486E54D1}" dt="2021-02-04T20:17:52.677" v="706" actId="20577"/>
        <pc:sldMkLst>
          <pc:docMk/>
          <pc:sldMk cId="508018380" sldId="748"/>
        </pc:sldMkLst>
        <pc:spChg chg="mod">
          <ac:chgData name="Perez Diaz, Karen" userId="17027623-4de6-4c48-9453-394c2c5804f8" providerId="ADAL" clId="{125B4060-2B6F-4057-BBAC-C886486E54D1}" dt="2021-02-04T20:17:52.677" v="706" actId="20577"/>
          <ac:spMkLst>
            <pc:docMk/>
            <pc:sldMk cId="508018380" sldId="748"/>
            <ac:spMk id="2" creationId="{EEB2DB48-F55E-46AE-9540-691925464E4C}"/>
          </ac:spMkLst>
        </pc:spChg>
      </pc:sldChg>
      <pc:sldChg chg="del">
        <pc:chgData name="Perez Diaz, Karen" userId="17027623-4de6-4c48-9453-394c2c5804f8" providerId="ADAL" clId="{125B4060-2B6F-4057-BBAC-C886486E54D1}" dt="2021-02-04T19:37:54.551" v="1" actId="2696"/>
        <pc:sldMkLst>
          <pc:docMk/>
          <pc:sldMk cId="1470794818" sldId="748"/>
        </pc:sldMkLst>
      </pc:sldChg>
      <pc:sldChg chg="delSp modSp">
        <pc:chgData name="Perez Diaz, Karen" userId="17027623-4de6-4c48-9453-394c2c5804f8" providerId="ADAL" clId="{125B4060-2B6F-4057-BBAC-C886486E54D1}" dt="2021-02-04T20:03:09.048" v="370" actId="14100"/>
        <pc:sldMkLst>
          <pc:docMk/>
          <pc:sldMk cId="3266835802" sldId="750"/>
        </pc:sldMkLst>
        <pc:spChg chg="mod topLvl">
          <ac:chgData name="Perez Diaz, Karen" userId="17027623-4de6-4c48-9453-394c2c5804f8" providerId="ADAL" clId="{125B4060-2B6F-4057-BBAC-C886486E54D1}" dt="2021-02-04T20:02:13.236" v="359" actId="165"/>
          <ac:spMkLst>
            <pc:docMk/>
            <pc:sldMk cId="3266835802" sldId="750"/>
            <ac:spMk id="12" creationId="{FE80D894-D049-4249-89C3-2CB429A7EF23}"/>
          </ac:spMkLst>
        </pc:spChg>
        <pc:spChg chg="mod topLvl">
          <ac:chgData name="Perez Diaz, Karen" userId="17027623-4de6-4c48-9453-394c2c5804f8" providerId="ADAL" clId="{125B4060-2B6F-4057-BBAC-C886486E54D1}" dt="2021-02-04T20:02:13.236" v="359" actId="165"/>
          <ac:spMkLst>
            <pc:docMk/>
            <pc:sldMk cId="3266835802" sldId="750"/>
            <ac:spMk id="14" creationId="{F6B3E33B-279A-4B57-A0C7-AFD4CB2BA78F}"/>
          </ac:spMkLst>
        </pc:spChg>
        <pc:spChg chg="mod topLvl">
          <ac:chgData name="Perez Diaz, Karen" userId="17027623-4de6-4c48-9453-394c2c5804f8" providerId="ADAL" clId="{125B4060-2B6F-4057-BBAC-C886486E54D1}" dt="2021-02-04T20:02:16.760" v="360" actId="165"/>
          <ac:spMkLst>
            <pc:docMk/>
            <pc:sldMk cId="3266835802" sldId="750"/>
            <ac:spMk id="151" creationId="{362265E2-6FD2-4518-A49E-124076CDC4AE}"/>
          </ac:spMkLst>
        </pc:spChg>
        <pc:spChg chg="mod topLvl">
          <ac:chgData name="Perez Diaz, Karen" userId="17027623-4de6-4c48-9453-394c2c5804f8" providerId="ADAL" clId="{125B4060-2B6F-4057-BBAC-C886486E54D1}" dt="2021-02-04T20:02:16.760" v="360" actId="165"/>
          <ac:spMkLst>
            <pc:docMk/>
            <pc:sldMk cId="3266835802" sldId="750"/>
            <ac:spMk id="152" creationId="{4A0E57FF-B63F-4ABD-BE47-3262089633DC}"/>
          </ac:spMkLst>
        </pc:spChg>
        <pc:grpChg chg="mod topLvl">
          <ac:chgData name="Perez Diaz, Karen" userId="17027623-4de6-4c48-9453-394c2c5804f8" providerId="ADAL" clId="{125B4060-2B6F-4057-BBAC-C886486E54D1}" dt="2021-02-04T20:02:33.840" v="369" actId="1038"/>
          <ac:grpSpMkLst>
            <pc:docMk/>
            <pc:sldMk cId="3266835802" sldId="750"/>
            <ac:grpSpMk id="44" creationId="{309C656C-07A6-4CB9-A6F1-98F2437FD1D2}"/>
          </ac:grpSpMkLst>
        </pc:grpChg>
        <pc:grpChg chg="del">
          <ac:chgData name="Perez Diaz, Karen" userId="17027623-4de6-4c48-9453-394c2c5804f8" providerId="ADAL" clId="{125B4060-2B6F-4057-BBAC-C886486E54D1}" dt="2021-02-04T20:02:13.236" v="359" actId="165"/>
          <ac:grpSpMkLst>
            <pc:docMk/>
            <pc:sldMk cId="3266835802" sldId="750"/>
            <ac:grpSpMk id="46" creationId="{29DC4481-8BE0-409E-BF4B-E164188DC5BC}"/>
          </ac:grpSpMkLst>
        </pc:grpChg>
        <pc:grpChg chg="del">
          <ac:chgData name="Perez Diaz, Karen" userId="17027623-4de6-4c48-9453-394c2c5804f8" providerId="ADAL" clId="{125B4060-2B6F-4057-BBAC-C886486E54D1}" dt="2021-02-04T20:02:16.760" v="360" actId="165"/>
          <ac:grpSpMkLst>
            <pc:docMk/>
            <pc:sldMk cId="3266835802" sldId="750"/>
            <ac:grpSpMk id="150" creationId="{BB52C84E-B598-4330-992D-62D2F219AAD5}"/>
          </ac:grpSpMkLst>
        </pc:grpChg>
        <pc:grpChg chg="mod topLvl">
          <ac:chgData name="Perez Diaz, Karen" userId="17027623-4de6-4c48-9453-394c2c5804f8" providerId="ADAL" clId="{125B4060-2B6F-4057-BBAC-C886486E54D1}" dt="2021-02-04T20:02:33.840" v="369" actId="1038"/>
          <ac:grpSpMkLst>
            <pc:docMk/>
            <pc:sldMk cId="3266835802" sldId="750"/>
            <ac:grpSpMk id="156" creationId="{0C64742B-27AD-4923-8FF7-8C15DDA3E47C}"/>
          </ac:grpSpMkLst>
        </pc:grpChg>
        <pc:grpChg chg="mod topLvl">
          <ac:chgData name="Perez Diaz, Karen" userId="17027623-4de6-4c48-9453-394c2c5804f8" providerId="ADAL" clId="{125B4060-2B6F-4057-BBAC-C886486E54D1}" dt="2021-02-04T20:02:16.760" v="360" actId="165"/>
          <ac:grpSpMkLst>
            <pc:docMk/>
            <pc:sldMk cId="3266835802" sldId="750"/>
            <ac:grpSpMk id="159" creationId="{D86746B5-70FB-401B-9464-11D1B394AE1D}"/>
          </ac:grpSpMkLst>
        </pc:grpChg>
        <pc:grpChg chg="mod topLvl">
          <ac:chgData name="Perez Diaz, Karen" userId="17027623-4de6-4c48-9453-394c2c5804f8" providerId="ADAL" clId="{125B4060-2B6F-4057-BBAC-C886486E54D1}" dt="2021-02-04T20:02:13.236" v="359" actId="165"/>
          <ac:grpSpMkLst>
            <pc:docMk/>
            <pc:sldMk cId="3266835802" sldId="750"/>
            <ac:grpSpMk id="217" creationId="{9E5C4412-7EC4-487F-854E-0A306D3FA7D8}"/>
          </ac:grpSpMkLst>
        </pc:grpChg>
        <pc:cxnChg chg="mod topLvl">
          <ac:chgData name="Perez Diaz, Karen" userId="17027623-4de6-4c48-9453-394c2c5804f8" providerId="ADAL" clId="{125B4060-2B6F-4057-BBAC-C886486E54D1}" dt="2021-02-04T20:02:33.840" v="369" actId="1038"/>
          <ac:cxnSpMkLst>
            <pc:docMk/>
            <pc:sldMk cId="3266835802" sldId="750"/>
            <ac:cxnSpMk id="20" creationId="{348D7C3F-B83C-43A8-9D28-CCC9C4BBB069}"/>
          </ac:cxnSpMkLst>
        </pc:cxnChg>
        <pc:cxnChg chg="mod topLvl">
          <ac:chgData name="Perez Diaz, Karen" userId="17027623-4de6-4c48-9453-394c2c5804f8" providerId="ADAL" clId="{125B4060-2B6F-4057-BBAC-C886486E54D1}" dt="2021-02-04T20:02:13.236" v="359" actId="165"/>
          <ac:cxnSpMkLst>
            <pc:docMk/>
            <pc:sldMk cId="3266835802" sldId="750"/>
            <ac:cxnSpMk id="25" creationId="{0FD92F1F-404B-4B75-922F-DC7CBDD99712}"/>
          </ac:cxnSpMkLst>
        </pc:cxnChg>
        <pc:cxnChg chg="mod topLvl">
          <ac:chgData name="Perez Diaz, Karen" userId="17027623-4de6-4c48-9453-394c2c5804f8" providerId="ADAL" clId="{125B4060-2B6F-4057-BBAC-C886486E54D1}" dt="2021-02-04T20:02:13.236" v="359" actId="165"/>
          <ac:cxnSpMkLst>
            <pc:docMk/>
            <pc:sldMk cId="3266835802" sldId="750"/>
            <ac:cxnSpMk id="27" creationId="{241AE13A-CC4B-4DEF-B58D-790536D65968}"/>
          </ac:cxnSpMkLst>
        </pc:cxnChg>
        <pc:cxnChg chg="mod topLvl">
          <ac:chgData name="Perez Diaz, Karen" userId="17027623-4de6-4c48-9453-394c2c5804f8" providerId="ADAL" clId="{125B4060-2B6F-4057-BBAC-C886486E54D1}" dt="2021-02-04T20:02:33.840" v="369" actId="1038"/>
          <ac:cxnSpMkLst>
            <pc:docMk/>
            <pc:sldMk cId="3266835802" sldId="750"/>
            <ac:cxnSpMk id="31" creationId="{8FEF314A-9932-4F10-8E0C-6B6DF5F71CD9}"/>
          </ac:cxnSpMkLst>
        </pc:cxnChg>
        <pc:cxnChg chg="mod topLvl">
          <ac:chgData name="Perez Diaz, Karen" userId="17027623-4de6-4c48-9453-394c2c5804f8" providerId="ADAL" clId="{125B4060-2B6F-4057-BBAC-C886486E54D1}" dt="2021-02-04T20:02:13.236" v="359" actId="165"/>
          <ac:cxnSpMkLst>
            <pc:docMk/>
            <pc:sldMk cId="3266835802" sldId="750"/>
            <ac:cxnSpMk id="65" creationId="{9F79DEE4-32EB-4954-BB88-47EAFD90F0F2}"/>
          </ac:cxnSpMkLst>
        </pc:cxnChg>
        <pc:cxnChg chg="mod">
          <ac:chgData name="Perez Diaz, Karen" userId="17027623-4de6-4c48-9453-394c2c5804f8" providerId="ADAL" clId="{125B4060-2B6F-4057-BBAC-C886486E54D1}" dt="2021-02-04T20:02:33.840" v="369" actId="1038"/>
          <ac:cxnSpMkLst>
            <pc:docMk/>
            <pc:sldMk cId="3266835802" sldId="750"/>
            <ac:cxnSpMk id="90" creationId="{B62C4502-AC81-4B5C-B201-F71E51274206}"/>
          </ac:cxnSpMkLst>
        </pc:cxnChg>
        <pc:cxnChg chg="mod topLvl">
          <ac:chgData name="Perez Diaz, Karen" userId="17027623-4de6-4c48-9453-394c2c5804f8" providerId="ADAL" clId="{125B4060-2B6F-4057-BBAC-C886486E54D1}" dt="2021-02-04T20:02:33.840" v="369" actId="1038"/>
          <ac:cxnSpMkLst>
            <pc:docMk/>
            <pc:sldMk cId="3266835802" sldId="750"/>
            <ac:cxnSpMk id="153" creationId="{CF62DD21-6B13-479A-AB86-BA847621720E}"/>
          </ac:cxnSpMkLst>
        </pc:cxnChg>
        <pc:cxnChg chg="mod topLvl">
          <ac:chgData name="Perez Diaz, Karen" userId="17027623-4de6-4c48-9453-394c2c5804f8" providerId="ADAL" clId="{125B4060-2B6F-4057-BBAC-C886486E54D1}" dt="2021-02-04T20:02:16.760" v="360" actId="165"/>
          <ac:cxnSpMkLst>
            <pc:docMk/>
            <pc:sldMk cId="3266835802" sldId="750"/>
            <ac:cxnSpMk id="154" creationId="{9CC4E547-EFBC-41A4-BA74-DA6CEF37B4DA}"/>
          </ac:cxnSpMkLst>
        </pc:cxnChg>
        <pc:cxnChg chg="mod topLvl">
          <ac:chgData name="Perez Diaz, Karen" userId="17027623-4de6-4c48-9453-394c2c5804f8" providerId="ADAL" clId="{125B4060-2B6F-4057-BBAC-C886486E54D1}" dt="2021-02-04T20:02:33.840" v="369" actId="1038"/>
          <ac:cxnSpMkLst>
            <pc:docMk/>
            <pc:sldMk cId="3266835802" sldId="750"/>
            <ac:cxnSpMk id="155" creationId="{A288B4CE-A560-4088-84AF-A1CFB05D09C9}"/>
          </ac:cxnSpMkLst>
        </pc:cxnChg>
        <pc:cxnChg chg="mod topLvl">
          <ac:chgData name="Perez Diaz, Karen" userId="17027623-4de6-4c48-9453-394c2c5804f8" providerId="ADAL" clId="{125B4060-2B6F-4057-BBAC-C886486E54D1}" dt="2021-02-04T20:02:16.760" v="360" actId="165"/>
          <ac:cxnSpMkLst>
            <pc:docMk/>
            <pc:sldMk cId="3266835802" sldId="750"/>
            <ac:cxnSpMk id="157" creationId="{D1D7CC37-D269-4D0D-954A-F51BB77E1049}"/>
          </ac:cxnSpMkLst>
        </pc:cxnChg>
        <pc:cxnChg chg="mod topLvl">
          <ac:chgData name="Perez Diaz, Karen" userId="17027623-4de6-4c48-9453-394c2c5804f8" providerId="ADAL" clId="{125B4060-2B6F-4057-BBAC-C886486E54D1}" dt="2021-02-04T20:02:16.760" v="360" actId="165"/>
          <ac:cxnSpMkLst>
            <pc:docMk/>
            <pc:sldMk cId="3266835802" sldId="750"/>
            <ac:cxnSpMk id="158" creationId="{1B2D97C1-E39D-4AA6-ABCB-11A7C1850039}"/>
          </ac:cxnSpMkLst>
        </pc:cxnChg>
        <pc:cxnChg chg="mod">
          <ac:chgData name="Perez Diaz, Karen" userId="17027623-4de6-4c48-9453-394c2c5804f8" providerId="ADAL" clId="{125B4060-2B6F-4057-BBAC-C886486E54D1}" dt="2021-02-04T20:03:09.048" v="370" actId="14100"/>
          <ac:cxnSpMkLst>
            <pc:docMk/>
            <pc:sldMk cId="3266835802" sldId="750"/>
            <ac:cxnSpMk id="221" creationId="{3097F805-177C-45C4-B7FE-D7C585050186}"/>
          </ac:cxnSpMkLst>
        </pc:cxnChg>
      </pc:sldChg>
      <pc:sldChg chg="modSp add">
        <pc:chgData name="Perez Diaz, Karen" userId="17027623-4de6-4c48-9453-394c2c5804f8" providerId="ADAL" clId="{125B4060-2B6F-4057-BBAC-C886486E54D1}" dt="2021-02-04T20:01:47.073" v="358" actId="207"/>
        <pc:sldMkLst>
          <pc:docMk/>
          <pc:sldMk cId="2585549440" sldId="752"/>
        </pc:sldMkLst>
        <pc:spChg chg="mod">
          <ac:chgData name="Perez Diaz, Karen" userId="17027623-4de6-4c48-9453-394c2c5804f8" providerId="ADAL" clId="{125B4060-2B6F-4057-BBAC-C886486E54D1}" dt="2021-02-04T19:38:55.713" v="13" actId="20577"/>
          <ac:spMkLst>
            <pc:docMk/>
            <pc:sldMk cId="2585549440" sldId="752"/>
            <ac:spMk id="2" creationId="{564A5F9A-755E-459F-B165-4A609C4DA448}"/>
          </ac:spMkLst>
        </pc:spChg>
        <pc:spChg chg="mod">
          <ac:chgData name="Perez Diaz, Karen" userId="17027623-4de6-4c48-9453-394c2c5804f8" providerId="ADAL" clId="{125B4060-2B6F-4057-BBAC-C886486E54D1}" dt="2021-02-04T20:01:47.073" v="358" actId="207"/>
          <ac:spMkLst>
            <pc:docMk/>
            <pc:sldMk cId="2585549440" sldId="752"/>
            <ac:spMk id="3" creationId="{16D5365B-B602-44AC-9EC5-1FECB96A2A26}"/>
          </ac:spMkLst>
        </pc:spChg>
      </pc:sldChg>
      <pc:sldChg chg="addSp delSp modSp add">
        <pc:chgData name="Perez Diaz, Karen" userId="17027623-4de6-4c48-9453-394c2c5804f8" providerId="ADAL" clId="{125B4060-2B6F-4057-BBAC-C886486E54D1}" dt="2021-02-04T20:20:43.536" v="768" actId="6549"/>
        <pc:sldMkLst>
          <pc:docMk/>
          <pc:sldMk cId="4110761666" sldId="753"/>
        </pc:sldMkLst>
        <pc:spChg chg="del">
          <ac:chgData name="Perez Diaz, Karen" userId="17027623-4de6-4c48-9453-394c2c5804f8" providerId="ADAL" clId="{125B4060-2B6F-4057-BBAC-C886486E54D1}" dt="2021-02-04T20:11:39.947" v="662" actId="478"/>
          <ac:spMkLst>
            <pc:docMk/>
            <pc:sldMk cId="4110761666" sldId="753"/>
            <ac:spMk id="2" creationId="{00000000-0000-0000-0000-000000000000}"/>
          </ac:spMkLst>
        </pc:spChg>
        <pc:spChg chg="add del mod">
          <ac:chgData name="Perez Diaz, Karen" userId="17027623-4de6-4c48-9453-394c2c5804f8" providerId="ADAL" clId="{125B4060-2B6F-4057-BBAC-C886486E54D1}" dt="2021-02-04T20:11:43.889" v="663" actId="478"/>
          <ac:spMkLst>
            <pc:docMk/>
            <pc:sldMk cId="4110761666" sldId="753"/>
            <ac:spMk id="6" creationId="{F06FEAB3-8A6D-4BF4-90D1-E025F15942AD}"/>
          </ac:spMkLst>
        </pc:spChg>
        <pc:spChg chg="add">
          <ac:chgData name="Perez Diaz, Karen" userId="17027623-4de6-4c48-9453-394c2c5804f8" providerId="ADAL" clId="{125B4060-2B6F-4057-BBAC-C886486E54D1}" dt="2021-02-04T20:11:44.540" v="664"/>
          <ac:spMkLst>
            <pc:docMk/>
            <pc:sldMk cId="4110761666" sldId="753"/>
            <ac:spMk id="7" creationId="{0D7FA4C1-1551-41BE-A604-C465AD23D0A5}"/>
          </ac:spMkLst>
        </pc:spChg>
        <pc:graphicFrameChg chg="mod modGraphic">
          <ac:chgData name="Perez Diaz, Karen" userId="17027623-4de6-4c48-9453-394c2c5804f8" providerId="ADAL" clId="{125B4060-2B6F-4057-BBAC-C886486E54D1}" dt="2021-02-04T20:20:43.536" v="768" actId="6549"/>
          <ac:graphicFrameMkLst>
            <pc:docMk/>
            <pc:sldMk cId="4110761666" sldId="753"/>
            <ac:graphicFrameMk id="5" creationId="{70F9371E-F78A-4060-92E1-259C0C348C60}"/>
          </ac:graphicFrameMkLst>
        </pc:graphicFrameChg>
      </pc:sldChg>
      <pc:sldChg chg="add del">
        <pc:chgData name="Perez Diaz, Karen" userId="17027623-4de6-4c48-9453-394c2c5804f8" providerId="ADAL" clId="{125B4060-2B6F-4057-BBAC-C886486E54D1}" dt="2021-02-04T20:16:59.232" v="691" actId="2696"/>
        <pc:sldMkLst>
          <pc:docMk/>
          <pc:sldMk cId="5976007" sldId="754"/>
        </pc:sldMkLst>
      </pc:sldChg>
    </pc:docChg>
  </pc:docChgLst>
  <pc:docChgLst>
    <pc:chgData name="Perez Diaz, Karen" userId="S::perezdiazk@aetna.com::17027623-4de6-4c48-9453-394c2c5804f8" providerId="AD" clId="Web-{F49A14D3-6E21-C9AA-1FE3-FCFD43C48BD5}"/>
    <pc:docChg chg="modSld">
      <pc:chgData name="Perez Diaz, Karen" userId="S::perezdiazk@aetna.com::17027623-4de6-4c48-9453-394c2c5804f8" providerId="AD" clId="Web-{F49A14D3-6E21-C9AA-1FE3-FCFD43C48BD5}" dt="2021-01-13T16:59:33.428" v="2" actId="20577"/>
      <pc:docMkLst>
        <pc:docMk/>
      </pc:docMkLst>
      <pc:sldChg chg="modSp">
        <pc:chgData name="Perez Diaz, Karen" userId="S::perezdiazk@aetna.com::17027623-4de6-4c48-9453-394c2c5804f8" providerId="AD" clId="Web-{F49A14D3-6E21-C9AA-1FE3-FCFD43C48BD5}" dt="2021-01-13T16:59:33.428" v="2" actId="20577"/>
        <pc:sldMkLst>
          <pc:docMk/>
          <pc:sldMk cId="3197154609" sldId="736"/>
        </pc:sldMkLst>
        <pc:spChg chg="mod">
          <ac:chgData name="Perez Diaz, Karen" userId="S::perezdiazk@aetna.com::17027623-4de6-4c48-9453-394c2c5804f8" providerId="AD" clId="Web-{F49A14D3-6E21-C9AA-1FE3-FCFD43C48BD5}" dt="2021-01-13T16:59:33.428" v="2" actId="20577"/>
          <ac:spMkLst>
            <pc:docMk/>
            <pc:sldMk cId="3197154609" sldId="736"/>
            <ac:spMk id="3" creationId="{AF0DA26D-3B67-40C8-9676-A9B16F9FFEA9}"/>
          </ac:spMkLst>
        </pc:spChg>
      </pc:sldChg>
    </pc:docChg>
  </pc:docChgLst>
  <pc:docChgLst>
    <pc:chgData name="Perez Diaz, Karen" userId="17027623-4de6-4c48-9453-394c2c5804f8" providerId="ADAL" clId="{D8188DBE-DC52-4B77-A834-928184A2AEC1}"/>
    <pc:docChg chg="delSld">
      <pc:chgData name="Perez Diaz, Karen" userId="17027623-4de6-4c48-9453-394c2c5804f8" providerId="ADAL" clId="{D8188DBE-DC52-4B77-A834-928184A2AEC1}" dt="2021-06-15T21:07:06.604" v="0" actId="47"/>
      <pc:docMkLst>
        <pc:docMk/>
      </pc:docMkLst>
      <pc:sldChg chg="del">
        <pc:chgData name="Perez Diaz, Karen" userId="17027623-4de6-4c48-9453-394c2c5804f8" providerId="ADAL" clId="{D8188DBE-DC52-4B77-A834-928184A2AEC1}" dt="2021-06-15T21:07:06.604" v="0" actId="47"/>
        <pc:sldMkLst>
          <pc:docMk/>
          <pc:sldMk cId="3585510629" sldId="257"/>
        </pc:sldMkLst>
      </pc:sldChg>
    </pc:docChg>
  </pc:docChgLst>
  <pc:docChgLst>
    <pc:chgData name="Perez Diaz, Karen" userId="17027623-4de6-4c48-9453-394c2c5804f8" providerId="ADAL" clId="{5F082997-C782-4E43-BDE8-F9D75DDCF7D1}"/>
    <pc:docChg chg="addSld modSld">
      <pc:chgData name="Perez Diaz, Karen" userId="17027623-4de6-4c48-9453-394c2c5804f8" providerId="ADAL" clId="{5F082997-C782-4E43-BDE8-F9D75DDCF7D1}" dt="2020-12-15T22:14:46.268" v="1"/>
      <pc:docMkLst>
        <pc:docMk/>
      </pc:docMkLst>
      <pc:sldChg chg="add">
        <pc:chgData name="Perez Diaz, Karen" userId="17027623-4de6-4c48-9453-394c2c5804f8" providerId="ADAL" clId="{5F082997-C782-4E43-BDE8-F9D75DDCF7D1}" dt="2020-12-15T22:14:41.279" v="0"/>
        <pc:sldMkLst>
          <pc:docMk/>
          <pc:sldMk cId="881379272" sldId="742"/>
        </pc:sldMkLst>
      </pc:sldChg>
      <pc:sldChg chg="add">
        <pc:chgData name="Perez Diaz, Karen" userId="17027623-4de6-4c48-9453-394c2c5804f8" providerId="ADAL" clId="{5F082997-C782-4E43-BDE8-F9D75DDCF7D1}" dt="2020-12-15T22:14:46.268" v="1"/>
        <pc:sldMkLst>
          <pc:docMk/>
          <pc:sldMk cId="3913551135" sldId="743"/>
        </pc:sldMkLst>
      </pc:sldChg>
    </pc:docChg>
  </pc:docChgLst>
  <pc:docChgLst>
    <pc:chgData name="Perez Diaz, Karen" userId="17027623-4de6-4c48-9453-394c2c5804f8" providerId="ADAL" clId="{B3AE8E18-DA78-425C-9C0B-15F7C90FF07A}"/>
    <pc:docChg chg="undo custSel addSld delSld modSld">
      <pc:chgData name="Perez Diaz, Karen" userId="17027623-4de6-4c48-9453-394c2c5804f8" providerId="ADAL" clId="{B3AE8E18-DA78-425C-9C0B-15F7C90FF07A}" dt="2021-06-03T18:25:56.595" v="746" actId="20577"/>
      <pc:docMkLst>
        <pc:docMk/>
      </pc:docMkLst>
      <pc:sldChg chg="modSp add mod">
        <pc:chgData name="Perez Diaz, Karen" userId="17027623-4de6-4c48-9453-394c2c5804f8" providerId="ADAL" clId="{B3AE8E18-DA78-425C-9C0B-15F7C90FF07A}" dt="2021-06-02T14:16:17.573" v="13" actId="20577"/>
        <pc:sldMkLst>
          <pc:docMk/>
          <pc:sldMk cId="3585510629" sldId="257"/>
        </pc:sldMkLst>
        <pc:spChg chg="mod">
          <ac:chgData name="Perez Diaz, Karen" userId="17027623-4de6-4c48-9453-394c2c5804f8" providerId="ADAL" clId="{B3AE8E18-DA78-425C-9C0B-15F7C90FF07A}" dt="2021-06-02T14:16:17.573" v="13" actId="20577"/>
          <ac:spMkLst>
            <pc:docMk/>
            <pc:sldMk cId="3585510629" sldId="257"/>
            <ac:spMk id="24" creationId="{656A0AF9-A3C7-4D4B-95CB-CC8E535579C5}"/>
          </ac:spMkLst>
        </pc:spChg>
      </pc:sldChg>
      <pc:sldChg chg="addSp delSp modSp add del">
        <pc:chgData name="Perez Diaz, Karen" userId="17027623-4de6-4c48-9453-394c2c5804f8" providerId="ADAL" clId="{B3AE8E18-DA78-425C-9C0B-15F7C90FF07A}" dt="2021-06-03T15:43:16.905" v="21" actId="47"/>
        <pc:sldMkLst>
          <pc:docMk/>
          <pc:sldMk cId="3887687176" sldId="260"/>
        </pc:sldMkLst>
        <pc:spChg chg="mod">
          <ac:chgData name="Perez Diaz, Karen" userId="17027623-4de6-4c48-9453-394c2c5804f8" providerId="ADAL" clId="{B3AE8E18-DA78-425C-9C0B-15F7C90FF07A}" dt="2021-06-03T15:42:59.411" v="19" actId="207"/>
          <ac:spMkLst>
            <pc:docMk/>
            <pc:sldMk cId="3887687176" sldId="260"/>
            <ac:spMk id="2" creationId="{00000000-0000-0000-0000-000000000000}"/>
          </ac:spMkLst>
        </pc:spChg>
        <pc:graphicFrameChg chg="add del mod">
          <ac:chgData name="Perez Diaz, Karen" userId="17027623-4de6-4c48-9453-394c2c5804f8" providerId="ADAL" clId="{B3AE8E18-DA78-425C-9C0B-15F7C90FF07A}" dt="2021-06-03T15:41:55.259" v="15"/>
          <ac:graphicFrameMkLst>
            <pc:docMk/>
            <pc:sldMk cId="3887687176" sldId="260"/>
            <ac:graphicFrameMk id="28" creationId="{1A7E53FC-EF97-4817-9D95-9376E573CB85}"/>
          </ac:graphicFrameMkLst>
        </pc:graphicFrameChg>
      </pc:sldChg>
      <pc:sldChg chg="del">
        <pc:chgData name="Perez Diaz, Karen" userId="17027623-4de6-4c48-9453-394c2c5804f8" providerId="ADAL" clId="{B3AE8E18-DA78-425C-9C0B-15F7C90FF07A}" dt="2021-06-03T15:43:45.582" v="25" actId="47"/>
        <pc:sldMkLst>
          <pc:docMk/>
          <pc:sldMk cId="1768675143" sldId="436"/>
        </pc:sldMkLst>
      </pc:sldChg>
      <pc:sldChg chg="del">
        <pc:chgData name="Perez Diaz, Karen" userId="17027623-4de6-4c48-9453-394c2c5804f8" providerId="ADAL" clId="{B3AE8E18-DA78-425C-9C0B-15F7C90FF07A}" dt="2021-06-03T15:43:39.888" v="23" actId="47"/>
        <pc:sldMkLst>
          <pc:docMk/>
          <pc:sldMk cId="3777260829" sldId="742"/>
        </pc:sldMkLst>
      </pc:sldChg>
      <pc:sldChg chg="del">
        <pc:chgData name="Perez Diaz, Karen" userId="17027623-4de6-4c48-9453-394c2c5804f8" providerId="ADAL" clId="{B3AE8E18-DA78-425C-9C0B-15F7C90FF07A}" dt="2021-06-03T15:43:40.705" v="24" actId="47"/>
        <pc:sldMkLst>
          <pc:docMk/>
          <pc:sldMk cId="508018380" sldId="748"/>
        </pc:sldMkLst>
      </pc:sldChg>
      <pc:sldChg chg="del">
        <pc:chgData name="Perez Diaz, Karen" userId="17027623-4de6-4c48-9453-394c2c5804f8" providerId="ADAL" clId="{B3AE8E18-DA78-425C-9C0B-15F7C90FF07A}" dt="2021-06-03T15:46:47.249" v="35" actId="47"/>
        <pc:sldMkLst>
          <pc:docMk/>
          <pc:sldMk cId="3266835802" sldId="750"/>
        </pc:sldMkLst>
      </pc:sldChg>
      <pc:sldChg chg="del">
        <pc:chgData name="Perez Diaz, Karen" userId="17027623-4de6-4c48-9453-394c2c5804f8" providerId="ADAL" clId="{B3AE8E18-DA78-425C-9C0B-15F7C90FF07A}" dt="2021-06-03T15:46:47.727" v="36" actId="47"/>
        <pc:sldMkLst>
          <pc:docMk/>
          <pc:sldMk cId="743756714" sldId="751"/>
        </pc:sldMkLst>
      </pc:sldChg>
      <pc:sldChg chg="del">
        <pc:chgData name="Perez Diaz, Karen" userId="17027623-4de6-4c48-9453-394c2c5804f8" providerId="ADAL" clId="{B3AE8E18-DA78-425C-9C0B-15F7C90FF07A}" dt="2021-06-03T15:43:37.848" v="22" actId="47"/>
        <pc:sldMkLst>
          <pc:docMk/>
          <pc:sldMk cId="313541378" sldId="754"/>
        </pc:sldMkLst>
      </pc:sldChg>
      <pc:sldChg chg="del">
        <pc:chgData name="Perez Diaz, Karen" userId="17027623-4de6-4c48-9453-394c2c5804f8" providerId="ADAL" clId="{B3AE8E18-DA78-425C-9C0B-15F7C90FF07A}" dt="2021-06-03T15:43:37.848" v="22" actId="47"/>
        <pc:sldMkLst>
          <pc:docMk/>
          <pc:sldMk cId="159236654" sldId="756"/>
        </pc:sldMkLst>
      </pc:sldChg>
      <pc:sldChg chg="del">
        <pc:chgData name="Perez Diaz, Karen" userId="17027623-4de6-4c48-9453-394c2c5804f8" providerId="ADAL" clId="{B3AE8E18-DA78-425C-9C0B-15F7C90FF07A}" dt="2021-06-03T15:43:37.848" v="22" actId="47"/>
        <pc:sldMkLst>
          <pc:docMk/>
          <pc:sldMk cId="1177355284" sldId="757"/>
        </pc:sldMkLst>
      </pc:sldChg>
      <pc:sldChg chg="del">
        <pc:chgData name="Perez Diaz, Karen" userId="17027623-4de6-4c48-9453-394c2c5804f8" providerId="ADAL" clId="{B3AE8E18-DA78-425C-9C0B-15F7C90FF07A}" dt="2021-06-03T15:43:37.848" v="22" actId="47"/>
        <pc:sldMkLst>
          <pc:docMk/>
          <pc:sldMk cId="3220359219" sldId="758"/>
        </pc:sldMkLst>
      </pc:sldChg>
      <pc:sldChg chg="del">
        <pc:chgData name="Perez Diaz, Karen" userId="17027623-4de6-4c48-9453-394c2c5804f8" providerId="ADAL" clId="{B3AE8E18-DA78-425C-9C0B-15F7C90FF07A}" dt="2021-06-03T15:43:37.848" v="22" actId="47"/>
        <pc:sldMkLst>
          <pc:docMk/>
          <pc:sldMk cId="1958526643" sldId="760"/>
        </pc:sldMkLst>
      </pc:sldChg>
      <pc:sldChg chg="del">
        <pc:chgData name="Perez Diaz, Karen" userId="17027623-4de6-4c48-9453-394c2c5804f8" providerId="ADAL" clId="{B3AE8E18-DA78-425C-9C0B-15F7C90FF07A}" dt="2021-06-03T15:43:37.848" v="22" actId="47"/>
        <pc:sldMkLst>
          <pc:docMk/>
          <pc:sldMk cId="2427708320" sldId="761"/>
        </pc:sldMkLst>
      </pc:sldChg>
      <pc:sldChg chg="del">
        <pc:chgData name="Perez Diaz, Karen" userId="17027623-4de6-4c48-9453-394c2c5804f8" providerId="ADAL" clId="{B3AE8E18-DA78-425C-9C0B-15F7C90FF07A}" dt="2021-06-03T15:46:46.526" v="34" actId="47"/>
        <pc:sldMkLst>
          <pc:docMk/>
          <pc:sldMk cId="1546832768" sldId="763"/>
        </pc:sldMkLst>
      </pc:sldChg>
      <pc:sldChg chg="add">
        <pc:chgData name="Perez Diaz, Karen" userId="17027623-4de6-4c48-9453-394c2c5804f8" providerId="ADAL" clId="{B3AE8E18-DA78-425C-9C0B-15F7C90FF07A}" dt="2021-06-03T15:45:45.961" v="26"/>
        <pc:sldMkLst>
          <pc:docMk/>
          <pc:sldMk cId="4047887920" sldId="257319"/>
        </pc:sldMkLst>
      </pc:sldChg>
      <pc:sldChg chg="modSp add">
        <pc:chgData name="Perez Diaz, Karen" userId="17027623-4de6-4c48-9453-394c2c5804f8" providerId="ADAL" clId="{B3AE8E18-DA78-425C-9C0B-15F7C90FF07A}" dt="2021-06-03T15:43:15" v="20" actId="207"/>
        <pc:sldMkLst>
          <pc:docMk/>
          <pc:sldMk cId="2776755944" sldId="257323"/>
        </pc:sldMkLst>
        <pc:spChg chg="mod">
          <ac:chgData name="Perez Diaz, Karen" userId="17027623-4de6-4c48-9453-394c2c5804f8" providerId="ADAL" clId="{B3AE8E18-DA78-425C-9C0B-15F7C90FF07A}" dt="2021-06-03T15:43:15" v="20" actId="207"/>
          <ac:spMkLst>
            <pc:docMk/>
            <pc:sldMk cId="2776755944" sldId="257323"/>
            <ac:spMk id="2" creationId="{00000000-0000-0000-0000-000000000000}"/>
          </ac:spMkLst>
        </pc:spChg>
      </pc:sldChg>
      <pc:sldChg chg="modSp add mod">
        <pc:chgData name="Perez Diaz, Karen" userId="17027623-4de6-4c48-9453-394c2c5804f8" providerId="ADAL" clId="{B3AE8E18-DA78-425C-9C0B-15F7C90FF07A}" dt="2021-06-03T17:47:48.005" v="205"/>
        <pc:sldMkLst>
          <pc:docMk/>
          <pc:sldMk cId="475631471" sldId="257346"/>
        </pc:sldMkLst>
        <pc:spChg chg="mod">
          <ac:chgData name="Perez Diaz, Karen" userId="17027623-4de6-4c48-9453-394c2c5804f8" providerId="ADAL" clId="{B3AE8E18-DA78-425C-9C0B-15F7C90FF07A}" dt="2021-06-03T15:51:28.581" v="81" actId="20577"/>
          <ac:spMkLst>
            <pc:docMk/>
            <pc:sldMk cId="475631471" sldId="257346"/>
            <ac:spMk id="2" creationId="{B872A945-E229-47E2-BC86-6752E4AEADE8}"/>
          </ac:spMkLst>
        </pc:spChg>
        <pc:spChg chg="mod">
          <ac:chgData name="Perez Diaz, Karen" userId="17027623-4de6-4c48-9453-394c2c5804f8" providerId="ADAL" clId="{B3AE8E18-DA78-425C-9C0B-15F7C90FF07A}" dt="2021-06-03T17:47:48.005" v="205"/>
          <ac:spMkLst>
            <pc:docMk/>
            <pc:sldMk cId="475631471" sldId="257346"/>
            <ac:spMk id="3" creationId="{917169DB-B556-4406-9CE3-73B84E7E230A}"/>
          </ac:spMkLst>
        </pc:spChg>
      </pc:sldChg>
      <pc:sldChg chg="add">
        <pc:chgData name="Perez Diaz, Karen" userId="17027623-4de6-4c48-9453-394c2c5804f8" providerId="ADAL" clId="{B3AE8E18-DA78-425C-9C0B-15F7C90FF07A}" dt="2021-06-03T15:45:45.961" v="26"/>
        <pc:sldMkLst>
          <pc:docMk/>
          <pc:sldMk cId="3545999847" sldId="257358"/>
        </pc:sldMkLst>
      </pc:sldChg>
      <pc:sldChg chg="add">
        <pc:chgData name="Perez Diaz, Karen" userId="17027623-4de6-4c48-9453-394c2c5804f8" providerId="ADAL" clId="{B3AE8E18-DA78-425C-9C0B-15F7C90FF07A}" dt="2021-06-03T15:45:45.961" v="26"/>
        <pc:sldMkLst>
          <pc:docMk/>
          <pc:sldMk cId="3996846705" sldId="257359"/>
        </pc:sldMkLst>
      </pc:sldChg>
      <pc:sldChg chg="add">
        <pc:chgData name="Perez Diaz, Karen" userId="17027623-4de6-4c48-9453-394c2c5804f8" providerId="ADAL" clId="{B3AE8E18-DA78-425C-9C0B-15F7C90FF07A}" dt="2021-06-03T15:45:45.961" v="26"/>
        <pc:sldMkLst>
          <pc:docMk/>
          <pc:sldMk cId="1689566357" sldId="257378"/>
        </pc:sldMkLst>
      </pc:sldChg>
      <pc:sldChg chg="add">
        <pc:chgData name="Perez Diaz, Karen" userId="17027623-4de6-4c48-9453-394c2c5804f8" providerId="ADAL" clId="{B3AE8E18-DA78-425C-9C0B-15F7C90FF07A}" dt="2021-06-03T15:50:14.275" v="38"/>
        <pc:sldMkLst>
          <pc:docMk/>
          <pc:sldMk cId="4291523258" sldId="257379"/>
        </pc:sldMkLst>
      </pc:sldChg>
      <pc:sldChg chg="add del">
        <pc:chgData name="Perez Diaz, Karen" userId="17027623-4de6-4c48-9453-394c2c5804f8" providerId="ADAL" clId="{B3AE8E18-DA78-425C-9C0B-15F7C90FF07A}" dt="2021-06-03T15:50:46.456" v="70"/>
        <pc:sldMkLst>
          <pc:docMk/>
          <pc:sldMk cId="148009159" sldId="257380"/>
        </pc:sldMkLst>
      </pc:sldChg>
      <pc:sldChg chg="modSp add del mod">
        <pc:chgData name="Perez Diaz, Karen" userId="17027623-4de6-4c48-9453-394c2c5804f8" providerId="ADAL" clId="{B3AE8E18-DA78-425C-9C0B-15F7C90FF07A}" dt="2021-06-03T18:19:01.045" v="566" actId="47"/>
        <pc:sldMkLst>
          <pc:docMk/>
          <pc:sldMk cId="3881539642" sldId="257380"/>
        </pc:sldMkLst>
        <pc:spChg chg="mod">
          <ac:chgData name="Perez Diaz, Karen" userId="17027623-4de6-4c48-9453-394c2c5804f8" providerId="ADAL" clId="{B3AE8E18-DA78-425C-9C0B-15F7C90FF07A}" dt="2021-06-03T17:48:02.874" v="225" actId="20577"/>
          <ac:spMkLst>
            <pc:docMk/>
            <pc:sldMk cId="3881539642" sldId="257380"/>
            <ac:spMk id="2" creationId="{B872A945-E229-47E2-BC86-6752E4AEADE8}"/>
          </ac:spMkLst>
        </pc:spChg>
        <pc:spChg chg="mod">
          <ac:chgData name="Perez Diaz, Karen" userId="17027623-4de6-4c48-9453-394c2c5804f8" providerId="ADAL" clId="{B3AE8E18-DA78-425C-9C0B-15F7C90FF07A}" dt="2021-06-03T17:49:58.993" v="255" actId="20577"/>
          <ac:spMkLst>
            <pc:docMk/>
            <pc:sldMk cId="3881539642" sldId="257380"/>
            <ac:spMk id="3" creationId="{917169DB-B556-4406-9CE3-73B84E7E230A}"/>
          </ac:spMkLst>
        </pc:spChg>
      </pc:sldChg>
      <pc:sldChg chg="add del">
        <pc:chgData name="Perez Diaz, Karen" userId="17027623-4de6-4c48-9453-394c2c5804f8" providerId="ADAL" clId="{B3AE8E18-DA78-425C-9C0B-15F7C90FF07A}" dt="2021-06-03T17:55:30.037" v="258" actId="47"/>
        <pc:sldMkLst>
          <pc:docMk/>
          <pc:sldMk cId="2120129767" sldId="257381"/>
        </pc:sldMkLst>
      </pc:sldChg>
      <pc:sldChg chg="modSp add mod">
        <pc:chgData name="Perez Diaz, Karen" userId="17027623-4de6-4c48-9453-394c2c5804f8" providerId="ADAL" clId="{B3AE8E18-DA78-425C-9C0B-15F7C90FF07A}" dt="2021-06-03T18:02:26.816" v="343" actId="255"/>
        <pc:sldMkLst>
          <pc:docMk/>
          <pc:sldMk cId="3709151776" sldId="257382"/>
        </pc:sldMkLst>
        <pc:spChg chg="mod">
          <ac:chgData name="Perez Diaz, Karen" userId="17027623-4de6-4c48-9453-394c2c5804f8" providerId="ADAL" clId="{B3AE8E18-DA78-425C-9C0B-15F7C90FF07A}" dt="2021-06-03T17:55:56.194" v="292" actId="207"/>
          <ac:spMkLst>
            <pc:docMk/>
            <pc:sldMk cId="3709151776" sldId="257382"/>
            <ac:spMk id="2" creationId="{FE6D2355-18CD-492B-9CF1-09E01E2B7F13}"/>
          </ac:spMkLst>
        </pc:spChg>
        <pc:spChg chg="mod">
          <ac:chgData name="Perez Diaz, Karen" userId="17027623-4de6-4c48-9453-394c2c5804f8" providerId="ADAL" clId="{B3AE8E18-DA78-425C-9C0B-15F7C90FF07A}" dt="2021-06-03T18:02:26.816" v="343" actId="255"/>
          <ac:spMkLst>
            <pc:docMk/>
            <pc:sldMk cId="3709151776" sldId="257382"/>
            <ac:spMk id="3" creationId="{EE1E7389-1C96-40E8-87FF-38937D89B34F}"/>
          </ac:spMkLst>
        </pc:spChg>
        <pc:spChg chg="mod">
          <ac:chgData name="Perez Diaz, Karen" userId="17027623-4de6-4c48-9453-394c2c5804f8" providerId="ADAL" clId="{B3AE8E18-DA78-425C-9C0B-15F7C90FF07A}" dt="2021-06-03T18:02:15.843" v="341" actId="113"/>
          <ac:spMkLst>
            <pc:docMk/>
            <pc:sldMk cId="3709151776" sldId="257382"/>
            <ac:spMk id="4" creationId="{39701C88-A664-4435-A6E3-1D28C101D72B}"/>
          </ac:spMkLst>
        </pc:spChg>
        <pc:spChg chg="mod">
          <ac:chgData name="Perez Diaz, Karen" userId="17027623-4de6-4c48-9453-394c2c5804f8" providerId="ADAL" clId="{B3AE8E18-DA78-425C-9C0B-15F7C90FF07A}" dt="2021-06-03T18:01:55.593" v="319" actId="6549"/>
          <ac:spMkLst>
            <pc:docMk/>
            <pc:sldMk cId="3709151776" sldId="257382"/>
            <ac:spMk id="6" creationId="{765C8A17-4138-4FFC-BF9C-9534159DAF65}"/>
          </ac:spMkLst>
        </pc:spChg>
      </pc:sldChg>
      <pc:sldChg chg="modSp add mod">
        <pc:chgData name="Perez Diaz, Karen" userId="17027623-4de6-4c48-9453-394c2c5804f8" providerId="ADAL" clId="{B3AE8E18-DA78-425C-9C0B-15F7C90FF07A}" dt="2021-06-03T18:16:15.852" v="512" actId="6549"/>
        <pc:sldMkLst>
          <pc:docMk/>
          <pc:sldMk cId="102353191" sldId="257383"/>
        </pc:sldMkLst>
        <pc:spChg chg="mod">
          <ac:chgData name="Perez Diaz, Karen" userId="17027623-4de6-4c48-9453-394c2c5804f8" providerId="ADAL" clId="{B3AE8E18-DA78-425C-9C0B-15F7C90FF07A}" dt="2021-06-03T18:04:48.152" v="364" actId="20577"/>
          <ac:spMkLst>
            <pc:docMk/>
            <pc:sldMk cId="102353191" sldId="257383"/>
            <ac:spMk id="2" creationId="{FE6D2355-18CD-492B-9CF1-09E01E2B7F13}"/>
          </ac:spMkLst>
        </pc:spChg>
        <pc:spChg chg="mod">
          <ac:chgData name="Perez Diaz, Karen" userId="17027623-4de6-4c48-9453-394c2c5804f8" providerId="ADAL" clId="{B3AE8E18-DA78-425C-9C0B-15F7C90FF07A}" dt="2021-06-03T18:16:15.852" v="512" actId="6549"/>
          <ac:spMkLst>
            <pc:docMk/>
            <pc:sldMk cId="102353191" sldId="257383"/>
            <ac:spMk id="3" creationId="{EE1E7389-1C96-40E8-87FF-38937D89B34F}"/>
          </ac:spMkLst>
        </pc:spChg>
        <pc:spChg chg="mod">
          <ac:chgData name="Perez Diaz, Karen" userId="17027623-4de6-4c48-9453-394c2c5804f8" providerId="ADAL" clId="{B3AE8E18-DA78-425C-9C0B-15F7C90FF07A}" dt="2021-06-03T18:10:27.102" v="468" actId="12"/>
          <ac:spMkLst>
            <pc:docMk/>
            <pc:sldMk cId="102353191" sldId="257383"/>
            <ac:spMk id="4" creationId="{39701C88-A664-4435-A6E3-1D28C101D72B}"/>
          </ac:spMkLst>
        </pc:spChg>
        <pc:spChg chg="mod">
          <ac:chgData name="Perez Diaz, Karen" userId="17027623-4de6-4c48-9453-394c2c5804f8" providerId="ADAL" clId="{B3AE8E18-DA78-425C-9C0B-15F7C90FF07A}" dt="2021-06-03T18:05:30.168" v="368" actId="20577"/>
          <ac:spMkLst>
            <pc:docMk/>
            <pc:sldMk cId="102353191" sldId="257383"/>
            <ac:spMk id="6" creationId="{765C8A17-4138-4FFC-BF9C-9534159DAF65}"/>
          </ac:spMkLst>
        </pc:spChg>
      </pc:sldChg>
      <pc:sldChg chg="addSp delSp modSp add mod">
        <pc:chgData name="Perez Diaz, Karen" userId="17027623-4de6-4c48-9453-394c2c5804f8" providerId="ADAL" clId="{B3AE8E18-DA78-425C-9C0B-15F7C90FF07A}" dt="2021-06-03T18:25:56.595" v="746" actId="20577"/>
        <pc:sldMkLst>
          <pc:docMk/>
          <pc:sldMk cId="3132974809" sldId="257384"/>
        </pc:sldMkLst>
        <pc:spChg chg="mod">
          <ac:chgData name="Perez Diaz, Karen" userId="17027623-4de6-4c48-9453-394c2c5804f8" providerId="ADAL" clId="{B3AE8E18-DA78-425C-9C0B-15F7C90FF07A}" dt="2021-06-03T18:16:57.565" v="536" actId="20577"/>
          <ac:spMkLst>
            <pc:docMk/>
            <pc:sldMk cId="3132974809" sldId="257384"/>
            <ac:spMk id="2" creationId="{FE6D2355-18CD-492B-9CF1-09E01E2B7F13}"/>
          </ac:spMkLst>
        </pc:spChg>
        <pc:spChg chg="del">
          <ac:chgData name="Perez Diaz, Karen" userId="17027623-4de6-4c48-9453-394c2c5804f8" providerId="ADAL" clId="{B3AE8E18-DA78-425C-9C0B-15F7C90FF07A}" dt="2021-06-03T18:17:28.761" v="539" actId="478"/>
          <ac:spMkLst>
            <pc:docMk/>
            <pc:sldMk cId="3132974809" sldId="257384"/>
            <ac:spMk id="3" creationId="{EE1E7389-1C96-40E8-87FF-38937D89B34F}"/>
          </ac:spMkLst>
        </pc:spChg>
        <pc:spChg chg="del">
          <ac:chgData name="Perez Diaz, Karen" userId="17027623-4de6-4c48-9453-394c2c5804f8" providerId="ADAL" clId="{B3AE8E18-DA78-425C-9C0B-15F7C90FF07A}" dt="2021-06-03T18:17:23.252" v="537" actId="478"/>
          <ac:spMkLst>
            <pc:docMk/>
            <pc:sldMk cId="3132974809" sldId="257384"/>
            <ac:spMk id="4" creationId="{39701C88-A664-4435-A6E3-1D28C101D72B}"/>
          </ac:spMkLst>
        </pc:spChg>
        <pc:spChg chg="mod">
          <ac:chgData name="Perez Diaz, Karen" userId="17027623-4de6-4c48-9453-394c2c5804f8" providerId="ADAL" clId="{B3AE8E18-DA78-425C-9C0B-15F7C90FF07A}" dt="2021-06-03T18:25:56.595" v="746" actId="20577"/>
          <ac:spMkLst>
            <pc:docMk/>
            <pc:sldMk cId="3132974809" sldId="257384"/>
            <ac:spMk id="6" creationId="{765C8A17-4138-4FFC-BF9C-9534159DAF65}"/>
          </ac:spMkLst>
        </pc:spChg>
        <pc:spChg chg="add del mod">
          <ac:chgData name="Perez Diaz, Karen" userId="17027623-4de6-4c48-9453-394c2c5804f8" providerId="ADAL" clId="{B3AE8E18-DA78-425C-9C0B-15F7C90FF07A}" dt="2021-06-03T18:17:26.309" v="538" actId="478"/>
          <ac:spMkLst>
            <pc:docMk/>
            <pc:sldMk cId="3132974809" sldId="257384"/>
            <ac:spMk id="7" creationId="{BD4CE53B-92CE-43E1-BEB6-146304C0AD4C}"/>
          </ac:spMkLst>
        </pc:spChg>
        <pc:spChg chg="add del mod">
          <ac:chgData name="Perez Diaz, Karen" userId="17027623-4de6-4c48-9453-394c2c5804f8" providerId="ADAL" clId="{B3AE8E18-DA78-425C-9C0B-15F7C90FF07A}" dt="2021-06-03T18:17:32.669" v="540" actId="478"/>
          <ac:spMkLst>
            <pc:docMk/>
            <pc:sldMk cId="3132974809" sldId="257384"/>
            <ac:spMk id="9" creationId="{52678CFE-526C-42FE-AF01-CEDA6E1233F7}"/>
          </ac:spMkLst>
        </pc:spChg>
      </pc:sldChg>
    </pc:docChg>
  </pc:docChgLst>
  <pc:docChgLst>
    <pc:chgData name="Perez Diaz, Karen" userId="17027623-4de6-4c48-9453-394c2c5804f8" providerId="ADAL" clId="{58ED4F7A-9394-4B32-972D-E7C80CFA011D}"/>
    <pc:docChg chg="modSld">
      <pc:chgData name="Perez Diaz, Karen" userId="17027623-4de6-4c48-9453-394c2c5804f8" providerId="ADAL" clId="{58ED4F7A-9394-4B32-972D-E7C80CFA011D}" dt="2021-06-08T16:44:46.593" v="0" actId="14100"/>
      <pc:docMkLst>
        <pc:docMk/>
      </pc:docMkLst>
      <pc:sldChg chg="modSp mod">
        <pc:chgData name="Perez Diaz, Karen" userId="17027623-4de6-4c48-9453-394c2c5804f8" providerId="ADAL" clId="{58ED4F7A-9394-4B32-972D-E7C80CFA011D}" dt="2021-06-08T16:44:46.593" v="0" actId="14100"/>
        <pc:sldMkLst>
          <pc:docMk/>
          <pc:sldMk cId="2585549440" sldId="752"/>
        </pc:sldMkLst>
        <pc:spChg chg="mod">
          <ac:chgData name="Perez Diaz, Karen" userId="17027623-4de6-4c48-9453-394c2c5804f8" providerId="ADAL" clId="{58ED4F7A-9394-4B32-972D-E7C80CFA011D}" dt="2021-06-08T16:44:46.593" v="0" actId="14100"/>
          <ac:spMkLst>
            <pc:docMk/>
            <pc:sldMk cId="2585549440" sldId="752"/>
            <ac:spMk id="3" creationId="{16D5365B-B602-44AC-9EC5-1FECB96A2A26}"/>
          </ac:spMkLst>
        </pc:spChg>
      </pc:sldChg>
    </pc:docChg>
  </pc:docChgLst>
  <pc:docChgLst>
    <pc:chgData name="Perez Diaz, Karen" userId="17027623-4de6-4c48-9453-394c2c5804f8" providerId="ADAL" clId="{537AB1C3-F087-4A84-B897-6CE5950AE188}"/>
    <pc:docChg chg="delSld">
      <pc:chgData name="Perez Diaz, Karen" userId="17027623-4de6-4c48-9453-394c2c5804f8" providerId="ADAL" clId="{537AB1C3-F087-4A84-B897-6CE5950AE188}" dt="2021-06-10T13:10:33.018" v="0" actId="47"/>
      <pc:docMkLst>
        <pc:docMk/>
      </pc:docMkLst>
      <pc:sldChg chg="del">
        <pc:chgData name="Perez Diaz, Karen" userId="17027623-4de6-4c48-9453-394c2c5804f8" providerId="ADAL" clId="{537AB1C3-F087-4A84-B897-6CE5950AE188}" dt="2021-06-10T13:10:33.018" v="0" actId="47"/>
        <pc:sldMkLst>
          <pc:docMk/>
          <pc:sldMk cId="2282214342" sldId="649"/>
        </pc:sldMkLst>
      </pc:sldChg>
      <pc:sldChg chg="del">
        <pc:chgData name="Perez Diaz, Karen" userId="17027623-4de6-4c48-9453-394c2c5804f8" providerId="ADAL" clId="{537AB1C3-F087-4A84-B897-6CE5950AE188}" dt="2021-06-10T13:10:33.018" v="0" actId="47"/>
        <pc:sldMkLst>
          <pc:docMk/>
          <pc:sldMk cId="4047887920" sldId="257319"/>
        </pc:sldMkLst>
      </pc:sldChg>
      <pc:sldChg chg="del">
        <pc:chgData name="Perez Diaz, Karen" userId="17027623-4de6-4c48-9453-394c2c5804f8" providerId="ADAL" clId="{537AB1C3-F087-4A84-B897-6CE5950AE188}" dt="2021-06-10T13:10:33.018" v="0" actId="47"/>
        <pc:sldMkLst>
          <pc:docMk/>
          <pc:sldMk cId="3545999847" sldId="257358"/>
        </pc:sldMkLst>
      </pc:sldChg>
      <pc:sldChg chg="del">
        <pc:chgData name="Perez Diaz, Karen" userId="17027623-4de6-4c48-9453-394c2c5804f8" providerId="ADAL" clId="{537AB1C3-F087-4A84-B897-6CE5950AE188}" dt="2021-06-10T13:10:33.018" v="0" actId="47"/>
        <pc:sldMkLst>
          <pc:docMk/>
          <pc:sldMk cId="3996846705" sldId="257359"/>
        </pc:sldMkLst>
      </pc:sldChg>
      <pc:sldChg chg="del">
        <pc:chgData name="Perez Diaz, Karen" userId="17027623-4de6-4c48-9453-394c2c5804f8" providerId="ADAL" clId="{537AB1C3-F087-4A84-B897-6CE5950AE188}" dt="2021-06-10T13:10:33.018" v="0" actId="47"/>
        <pc:sldMkLst>
          <pc:docMk/>
          <pc:sldMk cId="1689566357" sldId="257378"/>
        </pc:sldMkLst>
      </pc:sldChg>
      <pc:sldChg chg="del">
        <pc:chgData name="Perez Diaz, Karen" userId="17027623-4de6-4c48-9453-394c2c5804f8" providerId="ADAL" clId="{537AB1C3-F087-4A84-B897-6CE5950AE188}" dt="2021-06-10T13:10:33.018" v="0" actId="47"/>
        <pc:sldMkLst>
          <pc:docMk/>
          <pc:sldMk cId="2780201320" sldId="257385"/>
        </pc:sldMkLst>
      </pc:sldChg>
      <pc:sldChg chg="del">
        <pc:chgData name="Perez Diaz, Karen" userId="17027623-4de6-4c48-9453-394c2c5804f8" providerId="ADAL" clId="{537AB1C3-F087-4A84-B897-6CE5950AE188}" dt="2021-06-10T13:10:33.018" v="0" actId="47"/>
        <pc:sldMkLst>
          <pc:docMk/>
          <pc:sldMk cId="432149071" sldId="257387"/>
        </pc:sldMkLst>
      </pc:sldChg>
      <pc:sldChg chg="del">
        <pc:chgData name="Perez Diaz, Karen" userId="17027623-4de6-4c48-9453-394c2c5804f8" providerId="ADAL" clId="{537AB1C3-F087-4A84-B897-6CE5950AE188}" dt="2021-06-10T13:10:33.018" v="0" actId="47"/>
        <pc:sldMkLst>
          <pc:docMk/>
          <pc:sldMk cId="320982266" sldId="257390"/>
        </pc:sldMkLst>
      </pc:sldChg>
    </pc:docChg>
  </pc:docChgLst>
  <pc:docChgLst>
    <pc:chgData name="Perez Diaz, Karen" userId="17027623-4de6-4c48-9453-394c2c5804f8" providerId="ADAL" clId="{D17B4A6A-FACE-45A4-9DFD-FDB6AEDFD277}"/>
    <pc:docChg chg="undo custSel modSld">
      <pc:chgData name="Perez Diaz, Karen" userId="17027623-4de6-4c48-9453-394c2c5804f8" providerId="ADAL" clId="{D17B4A6A-FACE-45A4-9DFD-FDB6AEDFD277}" dt="2021-01-15T19:43:01.893" v="53"/>
      <pc:docMkLst>
        <pc:docMk/>
      </pc:docMkLst>
      <pc:sldChg chg="modSp addCm modCm">
        <pc:chgData name="Perez Diaz, Karen" userId="17027623-4de6-4c48-9453-394c2c5804f8" providerId="ADAL" clId="{D17B4A6A-FACE-45A4-9DFD-FDB6AEDFD277}" dt="2021-01-15T19:43:01.893" v="53"/>
        <pc:sldMkLst>
          <pc:docMk/>
          <pc:sldMk cId="3887687176" sldId="260"/>
        </pc:sldMkLst>
        <pc:spChg chg="mod">
          <ac:chgData name="Perez Diaz, Karen" userId="17027623-4de6-4c48-9453-394c2c5804f8" providerId="ADAL" clId="{D17B4A6A-FACE-45A4-9DFD-FDB6AEDFD277}" dt="2021-01-15T19:18:47.390" v="32" actId="20578"/>
          <ac:spMkLst>
            <pc:docMk/>
            <pc:sldMk cId="3887687176" sldId="260"/>
            <ac:spMk id="10" creationId="{00000000-0000-0000-0000-000000000000}"/>
          </ac:spMkLst>
        </pc:spChg>
      </pc:sldChg>
      <pc:sldChg chg="modSp">
        <pc:chgData name="Perez Diaz, Karen" userId="17027623-4de6-4c48-9453-394c2c5804f8" providerId="ADAL" clId="{D17B4A6A-FACE-45A4-9DFD-FDB6AEDFD277}" dt="2021-01-15T19:19:35.625" v="34" actId="20577"/>
        <pc:sldMkLst>
          <pc:docMk/>
          <pc:sldMk cId="753726229" sldId="379"/>
        </pc:sldMkLst>
        <pc:spChg chg="mod">
          <ac:chgData name="Perez Diaz, Karen" userId="17027623-4de6-4c48-9453-394c2c5804f8" providerId="ADAL" clId="{D17B4A6A-FACE-45A4-9DFD-FDB6AEDFD277}" dt="2021-01-15T18:57:35.591" v="1" actId="1076"/>
          <ac:spMkLst>
            <pc:docMk/>
            <pc:sldMk cId="753726229" sldId="379"/>
            <ac:spMk id="40" creationId="{E5BC28D1-A317-46D6-8D20-1C1199149729}"/>
          </ac:spMkLst>
        </pc:spChg>
        <pc:spChg chg="mod">
          <ac:chgData name="Perez Diaz, Karen" userId="17027623-4de6-4c48-9453-394c2c5804f8" providerId="ADAL" clId="{D17B4A6A-FACE-45A4-9DFD-FDB6AEDFD277}" dt="2021-01-15T19:19:35.625" v="34" actId="20577"/>
          <ac:spMkLst>
            <pc:docMk/>
            <pc:sldMk cId="753726229" sldId="379"/>
            <ac:spMk id="48" creationId="{0415831F-B7AD-4DDD-86CF-4F02CD25D1C2}"/>
          </ac:spMkLst>
        </pc:spChg>
      </pc:sldChg>
      <pc:sldChg chg="modSp">
        <pc:chgData name="Perez Diaz, Karen" userId="17027623-4de6-4c48-9453-394c2c5804f8" providerId="ADAL" clId="{D17B4A6A-FACE-45A4-9DFD-FDB6AEDFD277}" dt="2021-01-15T19:23:51.207" v="49" actId="20577"/>
        <pc:sldMkLst>
          <pc:docMk/>
          <pc:sldMk cId="1285900942" sldId="737"/>
        </pc:sldMkLst>
        <pc:spChg chg="mod">
          <ac:chgData name="Perez Diaz, Karen" userId="17027623-4de6-4c48-9453-394c2c5804f8" providerId="ADAL" clId="{D17B4A6A-FACE-45A4-9DFD-FDB6AEDFD277}" dt="2021-01-15T19:23:51.207" v="49" actId="20577"/>
          <ac:spMkLst>
            <pc:docMk/>
            <pc:sldMk cId="1285900942" sldId="737"/>
            <ac:spMk id="10" creationId="{CB5D12FB-FF24-4F81-84A8-B6855780FA57}"/>
          </ac:spMkLst>
        </pc:spChg>
        <pc:picChg chg="mod">
          <ac:chgData name="Perez Diaz, Karen" userId="17027623-4de6-4c48-9453-394c2c5804f8" providerId="ADAL" clId="{D17B4A6A-FACE-45A4-9DFD-FDB6AEDFD277}" dt="2021-01-15T18:58:02.347" v="2" actId="1076"/>
          <ac:picMkLst>
            <pc:docMk/>
            <pc:sldMk cId="1285900942" sldId="737"/>
            <ac:picMk id="18" creationId="{00000000-0000-0000-0000-000000000000}"/>
          </ac:picMkLst>
        </pc:picChg>
        <pc:picChg chg="mod">
          <ac:chgData name="Perez Diaz, Karen" userId="17027623-4de6-4c48-9453-394c2c5804f8" providerId="ADAL" clId="{D17B4A6A-FACE-45A4-9DFD-FDB6AEDFD277}" dt="2021-01-15T18:58:11.603" v="5" actId="1076"/>
          <ac:picMkLst>
            <pc:docMk/>
            <pc:sldMk cId="1285900942" sldId="737"/>
            <ac:picMk id="20" creationId="{00000000-0000-0000-0000-000000000000}"/>
          </ac:picMkLst>
        </pc:picChg>
      </pc:sldChg>
    </pc:docChg>
  </pc:docChgLst>
  <pc:docChgLst>
    <pc:chgData name="Perez Diaz, Karen" userId="17027623-4de6-4c48-9453-394c2c5804f8" providerId="ADAL" clId="{3D074B42-AEA4-454C-8585-E7FE470A2BF9}"/>
    <pc:docChg chg="undo custSel addSld delSld modSld sldOrd">
      <pc:chgData name="Perez Diaz, Karen" userId="17027623-4de6-4c48-9453-394c2c5804f8" providerId="ADAL" clId="{3D074B42-AEA4-454C-8585-E7FE470A2BF9}" dt="2021-03-29T22:10:38.589" v="2382" actId="20577"/>
      <pc:docMkLst>
        <pc:docMk/>
      </pc:docMkLst>
      <pc:sldChg chg="addSp modSp mod">
        <pc:chgData name="Perez Diaz, Karen" userId="17027623-4de6-4c48-9453-394c2c5804f8" providerId="ADAL" clId="{3D074B42-AEA4-454C-8585-E7FE470A2BF9}" dt="2021-03-29T22:10:38.589" v="2382" actId="20577"/>
        <pc:sldMkLst>
          <pc:docMk/>
          <pc:sldMk cId="3887687176" sldId="260"/>
        </pc:sldMkLst>
        <pc:spChg chg="add mod">
          <ac:chgData name="Perez Diaz, Karen" userId="17027623-4de6-4c48-9453-394c2c5804f8" providerId="ADAL" clId="{3D074B42-AEA4-454C-8585-E7FE470A2BF9}" dt="2021-03-29T22:10:38.589" v="2382" actId="20577"/>
          <ac:spMkLst>
            <pc:docMk/>
            <pc:sldMk cId="3887687176" sldId="260"/>
            <ac:spMk id="5" creationId="{2D69D40E-EDE9-471D-B9ED-C7524629D0CF}"/>
          </ac:spMkLst>
        </pc:spChg>
        <pc:spChg chg="mod">
          <ac:chgData name="Perez Diaz, Karen" userId="17027623-4de6-4c48-9453-394c2c5804f8" providerId="ADAL" clId="{3D074B42-AEA4-454C-8585-E7FE470A2BF9}" dt="2021-03-29T21:53:57.612" v="1781" actId="20577"/>
          <ac:spMkLst>
            <pc:docMk/>
            <pc:sldMk cId="3887687176" sldId="260"/>
            <ac:spMk id="6" creationId="{00000000-0000-0000-0000-000000000000}"/>
          </ac:spMkLst>
        </pc:spChg>
      </pc:sldChg>
      <pc:sldChg chg="modSp mod ord">
        <pc:chgData name="Perez Diaz, Karen" userId="17027623-4de6-4c48-9453-394c2c5804f8" providerId="ADAL" clId="{3D074B42-AEA4-454C-8585-E7FE470A2BF9}" dt="2021-03-29T21:51:00.664" v="1763"/>
        <pc:sldMkLst>
          <pc:docMk/>
          <pc:sldMk cId="4110761666" sldId="753"/>
        </pc:sldMkLst>
        <pc:graphicFrameChg chg="mod modGraphic">
          <ac:chgData name="Perez Diaz, Karen" userId="17027623-4de6-4c48-9453-394c2c5804f8" providerId="ADAL" clId="{3D074B42-AEA4-454C-8585-E7FE470A2BF9}" dt="2021-03-29T21:50:49.064" v="1761" actId="20577"/>
          <ac:graphicFrameMkLst>
            <pc:docMk/>
            <pc:sldMk cId="4110761666" sldId="753"/>
            <ac:graphicFrameMk id="5" creationId="{70F9371E-F78A-4060-92E1-259C0C348C60}"/>
          </ac:graphicFrameMkLst>
        </pc:graphicFrameChg>
      </pc:sldChg>
      <pc:sldChg chg="addSp delSp modSp new mod ord">
        <pc:chgData name="Perez Diaz, Karen" userId="17027623-4de6-4c48-9453-394c2c5804f8" providerId="ADAL" clId="{3D074B42-AEA4-454C-8585-E7FE470A2BF9}" dt="2021-03-29T21:53:23.994" v="1777" actId="20577"/>
        <pc:sldMkLst>
          <pc:docMk/>
          <pc:sldMk cId="313541378" sldId="754"/>
        </pc:sldMkLst>
        <pc:spChg chg="mod">
          <ac:chgData name="Perez Diaz, Karen" userId="17027623-4de6-4c48-9453-394c2c5804f8" providerId="ADAL" clId="{3D074B42-AEA4-454C-8585-E7FE470A2BF9}" dt="2021-03-29T20:46:13.996" v="1115" actId="20577"/>
          <ac:spMkLst>
            <pc:docMk/>
            <pc:sldMk cId="313541378" sldId="754"/>
            <ac:spMk id="2" creationId="{AECEAB9A-4052-4EF4-B24B-BD317033D159}"/>
          </ac:spMkLst>
        </pc:spChg>
        <pc:spChg chg="add del mod">
          <ac:chgData name="Perez Diaz, Karen" userId="17027623-4de6-4c48-9453-394c2c5804f8" providerId="ADAL" clId="{3D074B42-AEA4-454C-8585-E7FE470A2BF9}" dt="2021-03-29T20:45:10.505" v="1091" actId="1036"/>
          <ac:spMkLst>
            <pc:docMk/>
            <pc:sldMk cId="313541378" sldId="754"/>
            <ac:spMk id="3" creationId="{A2A7ACBE-BDCD-4F26-956E-BBAF98176ED7}"/>
          </ac:spMkLst>
        </pc:spChg>
        <pc:spChg chg="add del mod">
          <ac:chgData name="Perez Diaz, Karen" userId="17027623-4de6-4c48-9453-394c2c5804f8" providerId="ADAL" clId="{3D074B42-AEA4-454C-8585-E7FE470A2BF9}" dt="2021-03-29T21:53:23.994" v="1777" actId="20577"/>
          <ac:spMkLst>
            <pc:docMk/>
            <pc:sldMk cId="313541378" sldId="754"/>
            <ac:spMk id="4" creationId="{3391FEEF-F27B-41D9-B582-F93BB491DB23}"/>
          </ac:spMkLst>
        </pc:spChg>
        <pc:spChg chg="add del mod">
          <ac:chgData name="Perez Diaz, Karen" userId="17027623-4de6-4c48-9453-394c2c5804f8" providerId="ADAL" clId="{3D074B42-AEA4-454C-8585-E7FE470A2BF9}" dt="2021-03-29T20:40:34.711" v="856" actId="478"/>
          <ac:spMkLst>
            <pc:docMk/>
            <pc:sldMk cId="313541378" sldId="754"/>
            <ac:spMk id="8" creationId="{3DA600BC-A7CD-4F21-8D9D-16E1E2821543}"/>
          </ac:spMkLst>
        </pc:spChg>
        <pc:graphicFrameChg chg="add mod modGraphic">
          <ac:chgData name="Perez Diaz, Karen" userId="17027623-4de6-4c48-9453-394c2c5804f8" providerId="ADAL" clId="{3D074B42-AEA4-454C-8585-E7FE470A2BF9}" dt="2021-03-29T20:45:24.108" v="1092"/>
          <ac:graphicFrameMkLst>
            <pc:docMk/>
            <pc:sldMk cId="313541378" sldId="754"/>
            <ac:graphicFrameMk id="5" creationId="{CFFC21C1-D8DC-44A8-8916-D41D38B0EE0C}"/>
          </ac:graphicFrameMkLst>
        </pc:graphicFrameChg>
        <pc:graphicFrameChg chg="add del mod modGraphic">
          <ac:chgData name="Perez Diaz, Karen" userId="17027623-4de6-4c48-9453-394c2c5804f8" providerId="ADAL" clId="{3D074B42-AEA4-454C-8585-E7FE470A2BF9}" dt="2021-03-29T20:31:23.090" v="697" actId="478"/>
          <ac:graphicFrameMkLst>
            <pc:docMk/>
            <pc:sldMk cId="313541378" sldId="754"/>
            <ac:graphicFrameMk id="6" creationId="{EBF5345B-144F-4C9A-A848-374DCF8E2606}"/>
          </ac:graphicFrameMkLst>
        </pc:graphicFrameChg>
      </pc:sldChg>
      <pc:sldChg chg="addSp delSp modSp new del mod">
        <pc:chgData name="Perez Diaz, Karen" userId="17027623-4de6-4c48-9453-394c2c5804f8" providerId="ADAL" clId="{3D074B42-AEA4-454C-8585-E7FE470A2BF9}" dt="2021-03-29T20:39:53.263" v="829" actId="47"/>
        <pc:sldMkLst>
          <pc:docMk/>
          <pc:sldMk cId="735574475" sldId="755"/>
        </pc:sldMkLst>
        <pc:spChg chg="mod">
          <ac:chgData name="Perez Diaz, Karen" userId="17027623-4de6-4c48-9453-394c2c5804f8" providerId="ADAL" clId="{3D074B42-AEA4-454C-8585-E7FE470A2BF9}" dt="2021-03-29T20:36:33.613" v="770"/>
          <ac:spMkLst>
            <pc:docMk/>
            <pc:sldMk cId="735574475" sldId="755"/>
            <ac:spMk id="2" creationId="{04385547-98E8-45E5-B7CD-FF0E4583064A}"/>
          </ac:spMkLst>
        </pc:spChg>
        <pc:spChg chg="add del mod">
          <ac:chgData name="Perez Diaz, Karen" userId="17027623-4de6-4c48-9453-394c2c5804f8" providerId="ADAL" clId="{3D074B42-AEA4-454C-8585-E7FE470A2BF9}" dt="2021-03-29T20:28:23.108" v="658" actId="478"/>
          <ac:spMkLst>
            <pc:docMk/>
            <pc:sldMk cId="735574475" sldId="755"/>
            <ac:spMk id="3" creationId="{46B2B2BE-945F-475D-A49F-0866179AF1F5}"/>
          </ac:spMkLst>
        </pc:spChg>
        <pc:graphicFrameChg chg="add del mod">
          <ac:chgData name="Perez Diaz, Karen" userId="17027623-4de6-4c48-9453-394c2c5804f8" providerId="ADAL" clId="{3D074B42-AEA4-454C-8585-E7FE470A2BF9}" dt="2021-03-29T20:28:21.168" v="657"/>
          <ac:graphicFrameMkLst>
            <pc:docMk/>
            <pc:sldMk cId="735574475" sldId="755"/>
            <ac:graphicFrameMk id="4" creationId="{F144E830-495C-476C-A528-1B5C2DBAE088}"/>
          </ac:graphicFrameMkLst>
        </pc:graphicFrameChg>
        <pc:graphicFrameChg chg="add del mod">
          <ac:chgData name="Perez Diaz, Karen" userId="17027623-4de6-4c48-9453-394c2c5804f8" providerId="ADAL" clId="{3D074B42-AEA4-454C-8585-E7FE470A2BF9}" dt="2021-03-29T20:28:32.119" v="660"/>
          <ac:graphicFrameMkLst>
            <pc:docMk/>
            <pc:sldMk cId="735574475" sldId="755"/>
            <ac:graphicFrameMk id="5" creationId="{A232614B-DEF4-47FF-8AF2-58E3C6F32871}"/>
          </ac:graphicFrameMkLst>
        </pc:graphicFrameChg>
        <pc:graphicFrameChg chg="add del mod">
          <ac:chgData name="Perez Diaz, Karen" userId="17027623-4de6-4c48-9453-394c2c5804f8" providerId="ADAL" clId="{3D074B42-AEA4-454C-8585-E7FE470A2BF9}" dt="2021-03-29T20:28:52.088" v="662"/>
          <ac:graphicFrameMkLst>
            <pc:docMk/>
            <pc:sldMk cId="735574475" sldId="755"/>
            <ac:graphicFrameMk id="6" creationId="{29B8EDD5-3698-4B59-95B8-C2CB2F2B6906}"/>
          </ac:graphicFrameMkLst>
        </pc:graphicFrameChg>
        <pc:graphicFrameChg chg="add mod modGraphic">
          <ac:chgData name="Perez Diaz, Karen" userId="17027623-4de6-4c48-9453-394c2c5804f8" providerId="ADAL" clId="{3D074B42-AEA4-454C-8585-E7FE470A2BF9}" dt="2021-03-29T20:31:13.223" v="695" actId="6549"/>
          <ac:graphicFrameMkLst>
            <pc:docMk/>
            <pc:sldMk cId="735574475" sldId="755"/>
            <ac:graphicFrameMk id="7" creationId="{AB5C86C3-59B8-4BB5-84AD-6B0B1C0D7E7F}"/>
          </ac:graphicFrameMkLst>
        </pc:graphicFrameChg>
        <pc:graphicFrameChg chg="add del mod modGraphic">
          <ac:chgData name="Perez Diaz, Karen" userId="17027623-4de6-4c48-9453-394c2c5804f8" providerId="ADAL" clId="{3D074B42-AEA4-454C-8585-E7FE470A2BF9}" dt="2021-03-29T20:33:23.165" v="721"/>
          <ac:graphicFrameMkLst>
            <pc:docMk/>
            <pc:sldMk cId="735574475" sldId="755"/>
            <ac:graphicFrameMk id="8" creationId="{A6BAE6E5-CED5-4A07-9EA5-89FBFA47DEF0}"/>
          </ac:graphicFrameMkLst>
        </pc:graphicFrameChg>
      </pc:sldChg>
      <pc:sldChg chg="addSp delSp modSp add mod">
        <pc:chgData name="Perez Diaz, Karen" userId="17027623-4de6-4c48-9453-394c2c5804f8" providerId="ADAL" clId="{3D074B42-AEA4-454C-8585-E7FE470A2BF9}" dt="2021-03-29T20:40:21.875" v="852" actId="20577"/>
        <pc:sldMkLst>
          <pc:docMk/>
          <pc:sldMk cId="159236654" sldId="756"/>
        </pc:sldMkLst>
        <pc:spChg chg="mod">
          <ac:chgData name="Perez Diaz, Karen" userId="17027623-4de6-4c48-9453-394c2c5804f8" providerId="ADAL" clId="{3D074B42-AEA4-454C-8585-E7FE470A2BF9}" dt="2021-03-29T20:40:21.875" v="852" actId="20577"/>
          <ac:spMkLst>
            <pc:docMk/>
            <pc:sldMk cId="159236654" sldId="756"/>
            <ac:spMk id="2" creationId="{04385547-98E8-45E5-B7CD-FF0E4583064A}"/>
          </ac:spMkLst>
        </pc:spChg>
        <pc:graphicFrameChg chg="add del mod modGraphic">
          <ac:chgData name="Perez Diaz, Karen" userId="17027623-4de6-4c48-9453-394c2c5804f8" providerId="ADAL" clId="{3D074B42-AEA4-454C-8585-E7FE470A2BF9}" dt="2021-03-29T20:34:36.067" v="728"/>
          <ac:graphicFrameMkLst>
            <pc:docMk/>
            <pc:sldMk cId="159236654" sldId="756"/>
            <ac:graphicFrameMk id="3" creationId="{4E6968FA-D371-48F8-8884-A6C66AB3108A}"/>
          </ac:graphicFrameMkLst>
        </pc:graphicFrameChg>
        <pc:graphicFrameChg chg="add mod modGraphic">
          <ac:chgData name="Perez Diaz, Karen" userId="17027623-4de6-4c48-9453-394c2c5804f8" providerId="ADAL" clId="{3D074B42-AEA4-454C-8585-E7FE470A2BF9}" dt="2021-03-29T20:39:45.904" v="828"/>
          <ac:graphicFrameMkLst>
            <pc:docMk/>
            <pc:sldMk cId="159236654" sldId="756"/>
            <ac:graphicFrameMk id="4" creationId="{EFE116FC-4BF9-4DAF-B1E7-29701B258F6F}"/>
          </ac:graphicFrameMkLst>
        </pc:graphicFrameChg>
        <pc:graphicFrameChg chg="del mod">
          <ac:chgData name="Perez Diaz, Karen" userId="17027623-4de6-4c48-9453-394c2c5804f8" providerId="ADAL" clId="{3D074B42-AEA4-454C-8585-E7FE470A2BF9}" dt="2021-03-29T20:34:10.566" v="724" actId="478"/>
          <ac:graphicFrameMkLst>
            <pc:docMk/>
            <pc:sldMk cId="159236654" sldId="756"/>
            <ac:graphicFrameMk id="7" creationId="{AB5C86C3-59B8-4BB5-84AD-6B0B1C0D7E7F}"/>
          </ac:graphicFrameMkLst>
        </pc:graphicFrameChg>
      </pc:sldChg>
      <pc:sldChg chg="addSp delSp modSp add del mod">
        <pc:chgData name="Perez Diaz, Karen" userId="17027623-4de6-4c48-9453-394c2c5804f8" providerId="ADAL" clId="{3D074B42-AEA4-454C-8585-E7FE470A2BF9}" dt="2021-03-29T21:53:06.861" v="1776" actId="1035"/>
        <pc:sldMkLst>
          <pc:docMk/>
          <pc:sldMk cId="1177355284" sldId="757"/>
        </pc:sldMkLst>
        <pc:spChg chg="mod">
          <ac:chgData name="Perez Diaz, Karen" userId="17027623-4de6-4c48-9453-394c2c5804f8" providerId="ADAL" clId="{3D074B42-AEA4-454C-8585-E7FE470A2BF9}" dt="2021-03-29T20:47:55.331" v="1133" actId="20577"/>
          <ac:spMkLst>
            <pc:docMk/>
            <pc:sldMk cId="1177355284" sldId="757"/>
            <ac:spMk id="2" creationId="{04385547-98E8-45E5-B7CD-FF0E4583064A}"/>
          </ac:spMkLst>
        </pc:spChg>
        <pc:spChg chg="add mod">
          <ac:chgData name="Perez Diaz, Karen" userId="17027623-4de6-4c48-9453-394c2c5804f8" providerId="ADAL" clId="{3D074B42-AEA4-454C-8585-E7FE470A2BF9}" dt="2021-03-29T21:20:02.112" v="1308" actId="571"/>
          <ac:spMkLst>
            <pc:docMk/>
            <pc:sldMk cId="1177355284" sldId="757"/>
            <ac:spMk id="7" creationId="{E655F340-AFD6-45F8-B34A-386C33B4C437}"/>
          </ac:spMkLst>
        </pc:spChg>
        <pc:graphicFrameChg chg="add del mod">
          <ac:chgData name="Perez Diaz, Karen" userId="17027623-4de6-4c48-9453-394c2c5804f8" providerId="ADAL" clId="{3D074B42-AEA4-454C-8585-E7FE470A2BF9}" dt="2021-03-29T21:18:58.920" v="1297"/>
          <ac:graphicFrameMkLst>
            <pc:docMk/>
            <pc:sldMk cId="1177355284" sldId="757"/>
            <ac:graphicFrameMk id="3" creationId="{8305F7AD-0DCD-4EC7-8A98-7CB63189B92A}"/>
          </ac:graphicFrameMkLst>
        </pc:graphicFrameChg>
        <pc:graphicFrameChg chg="del">
          <ac:chgData name="Perez Diaz, Karen" userId="17027623-4de6-4c48-9453-394c2c5804f8" providerId="ADAL" clId="{3D074B42-AEA4-454C-8585-E7FE470A2BF9}" dt="2021-03-29T20:53:55.812" v="1295" actId="478"/>
          <ac:graphicFrameMkLst>
            <pc:docMk/>
            <pc:sldMk cId="1177355284" sldId="757"/>
            <ac:graphicFrameMk id="4" creationId="{EFE116FC-4BF9-4DAF-B1E7-29701B258F6F}"/>
          </ac:graphicFrameMkLst>
        </pc:graphicFrameChg>
        <pc:graphicFrameChg chg="add del mod modGraphic">
          <ac:chgData name="Perez Diaz, Karen" userId="17027623-4de6-4c48-9453-394c2c5804f8" providerId="ADAL" clId="{3D074B42-AEA4-454C-8585-E7FE470A2BF9}" dt="2021-03-29T21:19:22.918" v="1303"/>
          <ac:graphicFrameMkLst>
            <pc:docMk/>
            <pc:sldMk cId="1177355284" sldId="757"/>
            <ac:graphicFrameMk id="5" creationId="{F38FF1C2-D89D-4C14-8F21-0C756BC6B302}"/>
          </ac:graphicFrameMkLst>
        </pc:graphicFrameChg>
        <pc:graphicFrameChg chg="add del mod modGraphic">
          <ac:chgData name="Perez Diaz, Karen" userId="17027623-4de6-4c48-9453-394c2c5804f8" providerId="ADAL" clId="{3D074B42-AEA4-454C-8585-E7FE470A2BF9}" dt="2021-03-29T21:21:09.840" v="1316" actId="478"/>
          <ac:graphicFrameMkLst>
            <pc:docMk/>
            <pc:sldMk cId="1177355284" sldId="757"/>
            <ac:graphicFrameMk id="6" creationId="{621A5CC9-B7EB-441B-BDB1-0E3A4FE5CE35}"/>
          </ac:graphicFrameMkLst>
        </pc:graphicFrameChg>
        <pc:graphicFrameChg chg="add mod">
          <ac:chgData name="Perez Diaz, Karen" userId="17027623-4de6-4c48-9453-394c2c5804f8" providerId="ADAL" clId="{3D074B42-AEA4-454C-8585-E7FE470A2BF9}" dt="2021-03-29T21:20:02.112" v="1308" actId="571"/>
          <ac:graphicFrameMkLst>
            <pc:docMk/>
            <pc:sldMk cId="1177355284" sldId="757"/>
            <ac:graphicFrameMk id="8" creationId="{668E50AE-F4FF-4270-ABC7-124454512B2B}"/>
          </ac:graphicFrameMkLst>
        </pc:graphicFrameChg>
        <pc:graphicFrameChg chg="add del mod modGraphic">
          <ac:chgData name="Perez Diaz, Karen" userId="17027623-4de6-4c48-9453-394c2c5804f8" providerId="ADAL" clId="{3D074B42-AEA4-454C-8585-E7FE470A2BF9}" dt="2021-03-29T21:22:36.820" v="1330" actId="478"/>
          <ac:graphicFrameMkLst>
            <pc:docMk/>
            <pc:sldMk cId="1177355284" sldId="757"/>
            <ac:graphicFrameMk id="9" creationId="{B883716B-4AA7-4976-8E97-4AD1C00DF460}"/>
          </ac:graphicFrameMkLst>
        </pc:graphicFrameChg>
        <pc:graphicFrameChg chg="add del mod modGraphic">
          <ac:chgData name="Perez Diaz, Karen" userId="17027623-4de6-4c48-9453-394c2c5804f8" providerId="ADAL" clId="{3D074B42-AEA4-454C-8585-E7FE470A2BF9}" dt="2021-03-29T21:24:45.953" v="1334" actId="478"/>
          <ac:graphicFrameMkLst>
            <pc:docMk/>
            <pc:sldMk cId="1177355284" sldId="757"/>
            <ac:graphicFrameMk id="10" creationId="{CEE9AC3C-16AE-4D07-BC83-966A164AFBDA}"/>
          </ac:graphicFrameMkLst>
        </pc:graphicFrameChg>
        <pc:graphicFrameChg chg="add del mod modGraphic">
          <ac:chgData name="Perez Diaz, Karen" userId="17027623-4de6-4c48-9453-394c2c5804f8" providerId="ADAL" clId="{3D074B42-AEA4-454C-8585-E7FE470A2BF9}" dt="2021-03-29T21:26:08.291" v="1345" actId="478"/>
          <ac:graphicFrameMkLst>
            <pc:docMk/>
            <pc:sldMk cId="1177355284" sldId="757"/>
            <ac:graphicFrameMk id="11" creationId="{DEAE6A23-E4B4-44A3-BFA8-257451B69860}"/>
          </ac:graphicFrameMkLst>
        </pc:graphicFrameChg>
        <pc:graphicFrameChg chg="add del mod">
          <ac:chgData name="Perez Diaz, Karen" userId="17027623-4de6-4c48-9453-394c2c5804f8" providerId="ADAL" clId="{3D074B42-AEA4-454C-8585-E7FE470A2BF9}" dt="2021-03-29T21:26:24.522" v="1347"/>
          <ac:graphicFrameMkLst>
            <pc:docMk/>
            <pc:sldMk cId="1177355284" sldId="757"/>
            <ac:graphicFrameMk id="12" creationId="{34749DCD-BDDB-4CF4-9834-7FC0A7BE245E}"/>
          </ac:graphicFrameMkLst>
        </pc:graphicFrameChg>
        <pc:graphicFrameChg chg="add del mod modGraphic">
          <ac:chgData name="Perez Diaz, Karen" userId="17027623-4de6-4c48-9453-394c2c5804f8" providerId="ADAL" clId="{3D074B42-AEA4-454C-8585-E7FE470A2BF9}" dt="2021-03-29T21:31:10.792" v="1399" actId="478"/>
          <ac:graphicFrameMkLst>
            <pc:docMk/>
            <pc:sldMk cId="1177355284" sldId="757"/>
            <ac:graphicFrameMk id="13" creationId="{83D359B4-BBBA-4A9A-89F9-C81F898BAE25}"/>
          </ac:graphicFrameMkLst>
        </pc:graphicFrameChg>
        <pc:graphicFrameChg chg="add del mod modGraphic">
          <ac:chgData name="Perez Diaz, Karen" userId="17027623-4de6-4c48-9453-394c2c5804f8" providerId="ADAL" clId="{3D074B42-AEA4-454C-8585-E7FE470A2BF9}" dt="2021-03-29T21:37:16.100" v="1484" actId="478"/>
          <ac:graphicFrameMkLst>
            <pc:docMk/>
            <pc:sldMk cId="1177355284" sldId="757"/>
            <ac:graphicFrameMk id="14" creationId="{DFF21036-888E-4D2C-9716-758DCB9D8E5C}"/>
          </ac:graphicFrameMkLst>
        </pc:graphicFrameChg>
        <pc:graphicFrameChg chg="add del mod modGraphic">
          <ac:chgData name="Perez Diaz, Karen" userId="17027623-4de6-4c48-9453-394c2c5804f8" providerId="ADAL" clId="{3D074B42-AEA4-454C-8585-E7FE470A2BF9}" dt="2021-03-29T21:37:20.431" v="1486" actId="478"/>
          <ac:graphicFrameMkLst>
            <pc:docMk/>
            <pc:sldMk cId="1177355284" sldId="757"/>
            <ac:graphicFrameMk id="15" creationId="{777D441D-3C95-4EC4-894A-12B4B9092B3E}"/>
          </ac:graphicFrameMkLst>
        </pc:graphicFrameChg>
        <pc:graphicFrameChg chg="add del mod modGraphic">
          <ac:chgData name="Perez Diaz, Karen" userId="17027623-4de6-4c48-9453-394c2c5804f8" providerId="ADAL" clId="{3D074B42-AEA4-454C-8585-E7FE470A2BF9}" dt="2021-03-29T21:38:39.453" v="1508" actId="478"/>
          <ac:graphicFrameMkLst>
            <pc:docMk/>
            <pc:sldMk cId="1177355284" sldId="757"/>
            <ac:graphicFrameMk id="16" creationId="{74082665-4C4A-4ACD-BCB1-68F1E119D449}"/>
          </ac:graphicFrameMkLst>
        </pc:graphicFrameChg>
        <pc:graphicFrameChg chg="add mod modGraphic">
          <ac:chgData name="Perez Diaz, Karen" userId="17027623-4de6-4c48-9453-394c2c5804f8" providerId="ADAL" clId="{3D074B42-AEA4-454C-8585-E7FE470A2BF9}" dt="2021-03-29T21:51:19.718" v="1764" actId="20577"/>
          <ac:graphicFrameMkLst>
            <pc:docMk/>
            <pc:sldMk cId="1177355284" sldId="757"/>
            <ac:graphicFrameMk id="17" creationId="{5BA0AB9F-8F9E-4C36-9134-68A5DF20ABE3}"/>
          </ac:graphicFrameMkLst>
        </pc:graphicFrameChg>
        <pc:graphicFrameChg chg="add mod modGraphic">
          <ac:chgData name="Perez Diaz, Karen" userId="17027623-4de6-4c48-9453-394c2c5804f8" providerId="ADAL" clId="{3D074B42-AEA4-454C-8585-E7FE470A2BF9}" dt="2021-03-29T21:53:06.861" v="1776" actId="1035"/>
          <ac:graphicFrameMkLst>
            <pc:docMk/>
            <pc:sldMk cId="1177355284" sldId="757"/>
            <ac:graphicFrameMk id="18" creationId="{7A47E7A9-E1FE-471A-8B59-E9BC4BB72360}"/>
          </ac:graphicFrameMkLst>
        </pc:graphicFrameChg>
        <pc:graphicFrameChg chg="add mod">
          <ac:chgData name="Perez Diaz, Karen" userId="17027623-4de6-4c48-9453-394c2c5804f8" providerId="ADAL" clId="{3D074B42-AEA4-454C-8585-E7FE470A2BF9}" dt="2021-03-29T21:42:47.291" v="1590" actId="571"/>
          <ac:graphicFrameMkLst>
            <pc:docMk/>
            <pc:sldMk cId="1177355284" sldId="757"/>
            <ac:graphicFrameMk id="19" creationId="{F524CBA7-9502-49AA-A65A-28021D8EA7A3}"/>
          </ac:graphicFrameMkLst>
        </pc:graphicFrameChg>
      </pc:sldChg>
      <pc:sldChg chg="addSp delSp modSp add mod">
        <pc:chgData name="Perez Diaz, Karen" userId="17027623-4de6-4c48-9453-394c2c5804f8" providerId="ADAL" clId="{3D074B42-AEA4-454C-8585-E7FE470A2BF9}" dt="2021-03-29T21:53:33.085" v="1778" actId="20577"/>
        <pc:sldMkLst>
          <pc:docMk/>
          <pc:sldMk cId="3220359219" sldId="758"/>
        </pc:sldMkLst>
        <pc:spChg chg="mod">
          <ac:chgData name="Perez Diaz, Karen" userId="17027623-4de6-4c48-9453-394c2c5804f8" providerId="ADAL" clId="{3D074B42-AEA4-454C-8585-E7FE470A2BF9}" dt="2021-03-29T20:46:40.867" v="1126" actId="20577"/>
          <ac:spMkLst>
            <pc:docMk/>
            <pc:sldMk cId="3220359219" sldId="758"/>
            <ac:spMk id="2" creationId="{AECEAB9A-4052-4EF4-B24B-BD317033D159}"/>
          </ac:spMkLst>
        </pc:spChg>
        <pc:spChg chg="mod">
          <ac:chgData name="Perez Diaz, Karen" userId="17027623-4de6-4c48-9453-394c2c5804f8" providerId="ADAL" clId="{3D074B42-AEA4-454C-8585-E7FE470A2BF9}" dt="2021-03-29T20:49:22.256" v="1168" actId="20577"/>
          <ac:spMkLst>
            <pc:docMk/>
            <pc:sldMk cId="3220359219" sldId="758"/>
            <ac:spMk id="3" creationId="{A2A7ACBE-BDCD-4F26-956E-BBAF98176ED7}"/>
          </ac:spMkLst>
        </pc:spChg>
        <pc:spChg chg="mod">
          <ac:chgData name="Perez Diaz, Karen" userId="17027623-4de6-4c48-9453-394c2c5804f8" providerId="ADAL" clId="{3D074B42-AEA4-454C-8585-E7FE470A2BF9}" dt="2021-03-29T21:53:33.085" v="1778" actId="20577"/>
          <ac:spMkLst>
            <pc:docMk/>
            <pc:sldMk cId="3220359219" sldId="758"/>
            <ac:spMk id="4" creationId="{3391FEEF-F27B-41D9-B582-F93BB491DB23}"/>
          </ac:spMkLst>
        </pc:spChg>
        <pc:graphicFrameChg chg="del">
          <ac:chgData name="Perez Diaz, Karen" userId="17027623-4de6-4c48-9453-394c2c5804f8" providerId="ADAL" clId="{3D074B42-AEA4-454C-8585-E7FE470A2BF9}" dt="2021-03-29T20:48:58.410" v="1159" actId="478"/>
          <ac:graphicFrameMkLst>
            <pc:docMk/>
            <pc:sldMk cId="3220359219" sldId="758"/>
            <ac:graphicFrameMk id="5" creationId="{CFFC21C1-D8DC-44A8-8916-D41D38B0EE0C}"/>
          </ac:graphicFrameMkLst>
        </pc:graphicFrameChg>
        <pc:graphicFrameChg chg="add del mod modGraphic">
          <ac:chgData name="Perez Diaz, Karen" userId="17027623-4de6-4c48-9453-394c2c5804f8" providerId="ADAL" clId="{3D074B42-AEA4-454C-8585-E7FE470A2BF9}" dt="2021-03-29T20:49:51.089" v="1174"/>
          <ac:graphicFrameMkLst>
            <pc:docMk/>
            <pc:sldMk cId="3220359219" sldId="758"/>
            <ac:graphicFrameMk id="6" creationId="{13FACC56-C21B-42F6-9712-CCDB9D96AD2F}"/>
          </ac:graphicFrameMkLst>
        </pc:graphicFrameChg>
        <pc:graphicFrameChg chg="add mod modGraphic">
          <ac:chgData name="Perez Diaz, Karen" userId="17027623-4de6-4c48-9453-394c2c5804f8" providerId="ADAL" clId="{3D074B42-AEA4-454C-8585-E7FE470A2BF9}" dt="2021-03-29T20:50:45.857" v="1184"/>
          <ac:graphicFrameMkLst>
            <pc:docMk/>
            <pc:sldMk cId="3220359219" sldId="758"/>
            <ac:graphicFrameMk id="7" creationId="{D581B14C-E850-4EAA-8DC7-949294E4861B}"/>
          </ac:graphicFrameMkLst>
        </pc:graphicFrameChg>
      </pc:sldChg>
      <pc:sldChg chg="addSp delSp modSp new mod">
        <pc:chgData name="Perez Diaz, Karen" userId="17027623-4de6-4c48-9453-394c2c5804f8" providerId="ADAL" clId="{3D074B42-AEA4-454C-8585-E7FE470A2BF9}" dt="2021-03-29T22:08:59.798" v="2297" actId="20577"/>
        <pc:sldMkLst>
          <pc:docMk/>
          <pc:sldMk cId="2687953584" sldId="759"/>
        </pc:sldMkLst>
        <pc:spChg chg="mod">
          <ac:chgData name="Perez Diaz, Karen" userId="17027623-4de6-4c48-9453-394c2c5804f8" providerId="ADAL" clId="{3D074B42-AEA4-454C-8585-E7FE470A2BF9}" dt="2021-03-29T21:58:37.415" v="1831" actId="20577"/>
          <ac:spMkLst>
            <pc:docMk/>
            <pc:sldMk cId="2687953584" sldId="759"/>
            <ac:spMk id="2" creationId="{21A94713-F59B-4DC8-8769-45519439120C}"/>
          </ac:spMkLst>
        </pc:spChg>
        <pc:spChg chg="add del mod">
          <ac:chgData name="Perez Diaz, Karen" userId="17027623-4de6-4c48-9453-394c2c5804f8" providerId="ADAL" clId="{3D074B42-AEA4-454C-8585-E7FE470A2BF9}" dt="2021-03-29T22:08:59.798" v="2297" actId="20577"/>
          <ac:spMkLst>
            <pc:docMk/>
            <pc:sldMk cId="2687953584" sldId="759"/>
            <ac:spMk id="3" creationId="{384271D1-284E-42C0-A1FC-64F24F41D3A5}"/>
          </ac:spMkLst>
        </pc:spChg>
        <pc:spChg chg="add del">
          <ac:chgData name="Perez Diaz, Karen" userId="17027623-4de6-4c48-9453-394c2c5804f8" providerId="ADAL" clId="{3D074B42-AEA4-454C-8585-E7FE470A2BF9}" dt="2021-03-29T21:58:19.724" v="1786"/>
          <ac:spMkLst>
            <pc:docMk/>
            <pc:sldMk cId="2687953584" sldId="759"/>
            <ac:spMk id="5" creationId="{3346F7B0-2A99-4D1F-B6D0-60CF9E7B6329}"/>
          </ac:spMkLst>
        </pc:spChg>
        <pc:spChg chg="add del mod">
          <ac:chgData name="Perez Diaz, Karen" userId="17027623-4de6-4c48-9453-394c2c5804f8" providerId="ADAL" clId="{3D074B42-AEA4-454C-8585-E7FE470A2BF9}" dt="2021-03-29T22:06:23.814" v="2079"/>
          <ac:spMkLst>
            <pc:docMk/>
            <pc:sldMk cId="2687953584" sldId="759"/>
            <ac:spMk id="7" creationId="{C90DBFC2-689F-4FB3-A4F0-5A0382D1FDCE}"/>
          </ac:spMkLst>
        </pc:spChg>
        <pc:graphicFrameChg chg="add del mod">
          <ac:chgData name="Perez Diaz, Karen" userId="17027623-4de6-4c48-9453-394c2c5804f8" providerId="ADAL" clId="{3D074B42-AEA4-454C-8585-E7FE470A2BF9}" dt="2021-03-29T21:58:19.724" v="1786"/>
          <ac:graphicFrameMkLst>
            <pc:docMk/>
            <pc:sldMk cId="2687953584" sldId="759"/>
            <ac:graphicFrameMk id="4" creationId="{FC52308B-A68D-480A-9D64-08B716E0619C}"/>
          </ac:graphicFrameMkLst>
        </pc:graphicFrameChg>
        <pc:graphicFrameChg chg="add mod">
          <ac:chgData name="Perez Diaz, Karen" userId="17027623-4de6-4c48-9453-394c2c5804f8" providerId="ADAL" clId="{3D074B42-AEA4-454C-8585-E7FE470A2BF9}" dt="2021-03-29T22:05:13.951" v="2015" actId="1076"/>
          <ac:graphicFrameMkLst>
            <pc:docMk/>
            <pc:sldMk cId="2687953584" sldId="759"/>
            <ac:graphicFrameMk id="6" creationId="{D3664D7F-0A45-46CB-8FED-4E8FFE29E40A}"/>
          </ac:graphicFrameMkLst>
        </pc:graphicFrameChg>
      </pc:sldChg>
    </pc:docChg>
  </pc:docChgLst>
  <pc:docChgLst>
    <pc:chgData name="Perez Diaz, Karen" userId="17027623-4de6-4c48-9453-394c2c5804f8" providerId="ADAL" clId="{0F159CBD-F3E0-419B-833B-E99988979A30}"/>
    <pc:docChg chg="undo redo custSel modSld">
      <pc:chgData name="Perez Diaz, Karen" userId="17027623-4de6-4c48-9453-394c2c5804f8" providerId="ADAL" clId="{0F159CBD-F3E0-419B-833B-E99988979A30}" dt="2020-12-17T18:07:40.706" v="207" actId="20577"/>
      <pc:docMkLst>
        <pc:docMk/>
      </pc:docMkLst>
      <pc:sldChg chg="modSp">
        <pc:chgData name="Perez Diaz, Karen" userId="17027623-4de6-4c48-9453-394c2c5804f8" providerId="ADAL" clId="{0F159CBD-F3E0-419B-833B-E99988979A30}" dt="2020-12-17T18:07:40.706" v="207" actId="20577"/>
        <pc:sldMkLst>
          <pc:docMk/>
          <pc:sldMk cId="3887687176" sldId="260"/>
        </pc:sldMkLst>
        <pc:spChg chg="mod">
          <ac:chgData name="Perez Diaz, Karen" userId="17027623-4de6-4c48-9453-394c2c5804f8" providerId="ADAL" clId="{0F159CBD-F3E0-419B-833B-E99988979A30}" dt="2020-12-17T18:07:40.706" v="207" actId="20577"/>
          <ac:spMkLst>
            <pc:docMk/>
            <pc:sldMk cId="3887687176" sldId="260"/>
            <ac:spMk id="3" creationId="{00000000-0000-0000-0000-000000000000}"/>
          </ac:spMkLst>
        </pc:spChg>
        <pc:spChg chg="mod">
          <ac:chgData name="Perez Diaz, Karen" userId="17027623-4de6-4c48-9453-394c2c5804f8" providerId="ADAL" clId="{0F159CBD-F3E0-419B-833B-E99988979A30}" dt="2020-12-17T18:04:28.651" v="132" actId="20577"/>
          <ac:spMkLst>
            <pc:docMk/>
            <pc:sldMk cId="3887687176" sldId="260"/>
            <ac:spMk id="6" creationId="{00000000-0000-0000-0000-000000000000}"/>
          </ac:spMkLst>
        </pc:spChg>
      </pc:sldChg>
      <pc:sldChg chg="modSp">
        <pc:chgData name="Perez Diaz, Karen" userId="17027623-4de6-4c48-9453-394c2c5804f8" providerId="ADAL" clId="{0F159CBD-F3E0-419B-833B-E99988979A30}" dt="2020-12-17T18:07:34.279" v="199" actId="6549"/>
        <pc:sldMkLst>
          <pc:docMk/>
          <pc:sldMk cId="753726229" sldId="379"/>
        </pc:sldMkLst>
        <pc:spChg chg="mod">
          <ac:chgData name="Perez Diaz, Karen" userId="17027623-4de6-4c48-9453-394c2c5804f8" providerId="ADAL" clId="{0F159CBD-F3E0-419B-833B-E99988979A30}" dt="2020-12-17T18:07:22.906" v="189" actId="20577"/>
          <ac:spMkLst>
            <pc:docMk/>
            <pc:sldMk cId="753726229" sldId="379"/>
            <ac:spMk id="30" creationId="{39C286EB-B4EB-407E-9E61-97D02F492D65}"/>
          </ac:spMkLst>
        </pc:spChg>
        <pc:spChg chg="mod">
          <ac:chgData name="Perez Diaz, Karen" userId="17027623-4de6-4c48-9453-394c2c5804f8" providerId="ADAL" clId="{0F159CBD-F3E0-419B-833B-E99988979A30}" dt="2020-12-17T18:07:31.898" v="198" actId="20577"/>
          <ac:spMkLst>
            <pc:docMk/>
            <pc:sldMk cId="753726229" sldId="379"/>
            <ac:spMk id="38" creationId="{1A443F8F-8D68-42AA-BAEE-15BC368AA565}"/>
          </ac:spMkLst>
        </pc:spChg>
        <pc:spChg chg="mod">
          <ac:chgData name="Perez Diaz, Karen" userId="17027623-4de6-4c48-9453-394c2c5804f8" providerId="ADAL" clId="{0F159CBD-F3E0-419B-833B-E99988979A30}" dt="2020-12-17T18:07:34.279" v="199" actId="6549"/>
          <ac:spMkLst>
            <pc:docMk/>
            <pc:sldMk cId="753726229" sldId="379"/>
            <ac:spMk id="41" creationId="{F61881A8-8097-4E01-9E0A-37E81BD78925}"/>
          </ac:spMkLst>
        </pc:spChg>
      </pc:sldChg>
      <pc:sldChg chg="modSp">
        <pc:chgData name="Perez Diaz, Karen" userId="17027623-4de6-4c48-9453-394c2c5804f8" providerId="ADAL" clId="{0F159CBD-F3E0-419B-833B-E99988979A30}" dt="2020-12-17T18:06:14.176" v="149" actId="6549"/>
        <pc:sldMkLst>
          <pc:docMk/>
          <pc:sldMk cId="1285900942" sldId="737"/>
        </pc:sldMkLst>
        <pc:spChg chg="mod">
          <ac:chgData name="Perez Diaz, Karen" userId="17027623-4de6-4c48-9453-394c2c5804f8" providerId="ADAL" clId="{0F159CBD-F3E0-419B-833B-E99988979A30}" dt="2020-12-17T18:05:39.835" v="140" actId="20577"/>
          <ac:spMkLst>
            <pc:docMk/>
            <pc:sldMk cId="1285900942" sldId="737"/>
            <ac:spMk id="13" creationId="{CB5D12FB-FF24-4F81-84A8-B6855780FA57}"/>
          </ac:spMkLst>
        </pc:spChg>
        <pc:spChg chg="mod">
          <ac:chgData name="Perez Diaz, Karen" userId="17027623-4de6-4c48-9453-394c2c5804f8" providerId="ADAL" clId="{0F159CBD-F3E0-419B-833B-E99988979A30}" dt="2020-12-17T18:06:14.176" v="149" actId="6549"/>
          <ac:spMkLst>
            <pc:docMk/>
            <pc:sldMk cId="1285900942" sldId="737"/>
            <ac:spMk id="14" creationId="{05745967-7367-4DAD-B714-7E64C7F7BAA4}"/>
          </ac:spMkLst>
        </pc:spChg>
      </pc:sldChg>
      <pc:sldChg chg="modSp">
        <pc:chgData name="Perez Diaz, Karen" userId="17027623-4de6-4c48-9453-394c2c5804f8" providerId="ADAL" clId="{0F159CBD-F3E0-419B-833B-E99988979A30}" dt="2020-12-17T18:06:52.101" v="181" actId="20577"/>
        <pc:sldMkLst>
          <pc:docMk/>
          <pc:sldMk cId="3216517808" sldId="738"/>
        </pc:sldMkLst>
        <pc:spChg chg="mod">
          <ac:chgData name="Perez Diaz, Karen" userId="17027623-4de6-4c48-9453-394c2c5804f8" providerId="ADAL" clId="{0F159CBD-F3E0-419B-833B-E99988979A30}" dt="2020-12-17T18:06:28.937" v="157" actId="20577"/>
          <ac:spMkLst>
            <pc:docMk/>
            <pc:sldMk cId="3216517808" sldId="738"/>
            <ac:spMk id="23" creationId="{CB5D12FB-FF24-4F81-84A8-B6855780FA57}"/>
          </ac:spMkLst>
        </pc:spChg>
        <pc:spChg chg="mod">
          <ac:chgData name="Perez Diaz, Karen" userId="17027623-4de6-4c48-9453-394c2c5804f8" providerId="ADAL" clId="{0F159CBD-F3E0-419B-833B-E99988979A30}" dt="2020-12-17T18:06:52.101" v="181" actId="20577"/>
          <ac:spMkLst>
            <pc:docMk/>
            <pc:sldMk cId="3216517808" sldId="738"/>
            <ac:spMk id="24" creationId="{05745967-7367-4DAD-B714-7E64C7F7BAA4}"/>
          </ac:spMkLst>
        </pc:spChg>
      </pc:sldChg>
      <pc:sldChg chg="addSp delSp modSp">
        <pc:chgData name="Perez Diaz, Karen" userId="17027623-4de6-4c48-9453-394c2c5804f8" providerId="ADAL" clId="{0F159CBD-F3E0-419B-833B-E99988979A30}" dt="2020-12-17T18:02:30.729" v="44" actId="164"/>
        <pc:sldMkLst>
          <pc:docMk/>
          <pc:sldMk cId="881379272" sldId="742"/>
        </pc:sldMkLst>
        <pc:spChg chg="mod topLvl">
          <ac:chgData name="Perez Diaz, Karen" userId="17027623-4de6-4c48-9453-394c2c5804f8" providerId="ADAL" clId="{0F159CBD-F3E0-419B-833B-E99988979A30}" dt="2020-12-17T18:00:44.854" v="26" actId="164"/>
          <ac:spMkLst>
            <pc:docMk/>
            <pc:sldMk cId="881379272" sldId="742"/>
            <ac:spMk id="17" creationId="{C1BA304E-4D00-4467-9A6C-60D0F96B1272}"/>
          </ac:spMkLst>
        </pc:spChg>
        <pc:spChg chg="mod topLvl">
          <ac:chgData name="Perez Diaz, Karen" userId="17027623-4de6-4c48-9453-394c2c5804f8" providerId="ADAL" clId="{0F159CBD-F3E0-419B-833B-E99988979A30}" dt="2020-12-17T18:02:20.850" v="41" actId="164"/>
          <ac:spMkLst>
            <pc:docMk/>
            <pc:sldMk cId="881379272" sldId="742"/>
            <ac:spMk id="18" creationId="{1FD44B30-90FA-490E-A024-06171BB7986B}"/>
          </ac:spMkLst>
        </pc:spChg>
        <pc:spChg chg="mod topLvl">
          <ac:chgData name="Perez Diaz, Karen" userId="17027623-4de6-4c48-9453-394c2c5804f8" providerId="ADAL" clId="{0F159CBD-F3E0-419B-833B-E99988979A30}" dt="2020-12-17T18:00:44.854" v="26" actId="164"/>
          <ac:spMkLst>
            <pc:docMk/>
            <pc:sldMk cId="881379272" sldId="742"/>
            <ac:spMk id="19" creationId="{2D133A89-F002-41DF-BE8A-052612A491AC}"/>
          </ac:spMkLst>
        </pc:spChg>
        <pc:spChg chg="mod topLvl">
          <ac:chgData name="Perez Diaz, Karen" userId="17027623-4de6-4c48-9453-394c2c5804f8" providerId="ADAL" clId="{0F159CBD-F3E0-419B-833B-E99988979A30}" dt="2020-12-17T18:02:30.729" v="44" actId="164"/>
          <ac:spMkLst>
            <pc:docMk/>
            <pc:sldMk cId="881379272" sldId="742"/>
            <ac:spMk id="35" creationId="{2ACAE726-6B31-4DBD-9287-68684D0D1267}"/>
          </ac:spMkLst>
        </pc:spChg>
        <pc:grpChg chg="add mod ord">
          <ac:chgData name="Perez Diaz, Karen" userId="17027623-4de6-4c48-9453-394c2c5804f8" providerId="ADAL" clId="{0F159CBD-F3E0-419B-833B-E99988979A30}" dt="2020-12-17T18:02:20.850" v="41" actId="164"/>
          <ac:grpSpMkLst>
            <pc:docMk/>
            <pc:sldMk cId="881379272" sldId="742"/>
            <ac:grpSpMk id="23" creationId="{4AC32419-BA63-4713-9301-A226CFD32889}"/>
          </ac:grpSpMkLst>
        </pc:grpChg>
        <pc:grpChg chg="add mod">
          <ac:chgData name="Perez Diaz, Karen" userId="17027623-4de6-4c48-9453-394c2c5804f8" providerId="ADAL" clId="{0F159CBD-F3E0-419B-833B-E99988979A30}" dt="2020-12-17T18:02:30.729" v="44" actId="164"/>
          <ac:grpSpMkLst>
            <pc:docMk/>
            <pc:sldMk cId="881379272" sldId="742"/>
            <ac:grpSpMk id="24" creationId="{23994B4D-AEEA-4C88-8DDA-6E7C6CD827FD}"/>
          </ac:grpSpMkLst>
        </pc:grpChg>
        <pc:grpChg chg="add mod">
          <ac:chgData name="Perez Diaz, Karen" userId="17027623-4de6-4c48-9453-394c2c5804f8" providerId="ADAL" clId="{0F159CBD-F3E0-419B-833B-E99988979A30}" dt="2020-12-17T18:02:30.729" v="44" actId="164"/>
          <ac:grpSpMkLst>
            <pc:docMk/>
            <pc:sldMk cId="881379272" sldId="742"/>
            <ac:grpSpMk id="26" creationId="{899AB3C6-D04B-467B-80AD-71290C5FD607}"/>
          </ac:grpSpMkLst>
        </pc:grpChg>
        <pc:grpChg chg="del mod">
          <ac:chgData name="Perez Diaz, Karen" userId="17027623-4de6-4c48-9453-394c2c5804f8" providerId="ADAL" clId="{0F159CBD-F3E0-419B-833B-E99988979A30}" dt="2020-12-17T18:00:25.510" v="22" actId="165"/>
          <ac:grpSpMkLst>
            <pc:docMk/>
            <pc:sldMk cId="881379272" sldId="742"/>
            <ac:grpSpMk id="202" creationId="{3CDAE162-64E4-4CC1-8122-690E9508E68E}"/>
          </ac:grpSpMkLst>
        </pc:grpChg>
        <pc:cxnChg chg="mod">
          <ac:chgData name="Perez Diaz, Karen" userId="17027623-4de6-4c48-9453-394c2c5804f8" providerId="ADAL" clId="{0F159CBD-F3E0-419B-833B-E99988979A30}" dt="2020-12-17T18:02:25.368" v="43" actId="1076"/>
          <ac:cxnSpMkLst>
            <pc:docMk/>
            <pc:sldMk cId="881379272" sldId="742"/>
            <ac:cxnSpMk id="52" creationId="{9A801628-898B-4840-8337-E3F4FCEE2F10}"/>
          </ac:cxnSpMkLst>
        </pc:cxnChg>
        <pc:cxnChg chg="mod topLvl">
          <ac:chgData name="Perez Diaz, Karen" userId="17027623-4de6-4c48-9453-394c2c5804f8" providerId="ADAL" clId="{0F159CBD-F3E0-419B-833B-E99988979A30}" dt="2020-12-17T18:02:25.368" v="43" actId="1076"/>
          <ac:cxnSpMkLst>
            <pc:docMk/>
            <pc:sldMk cId="881379272" sldId="742"/>
            <ac:cxnSpMk id="170" creationId="{22C87227-5D49-40A2-A3BC-8592EC3CD579}"/>
          </ac:cxnSpMkLst>
        </pc:cxnChg>
      </pc:sldChg>
      <pc:sldChg chg="addSp delSp modSp">
        <pc:chgData name="Perez Diaz, Karen" userId="17027623-4de6-4c48-9453-394c2c5804f8" providerId="ADAL" clId="{0F159CBD-F3E0-419B-833B-E99988979A30}" dt="2020-12-17T18:03:20.410" v="99" actId="20577"/>
        <pc:sldMkLst>
          <pc:docMk/>
          <pc:sldMk cId="3913551135" sldId="743"/>
        </pc:sldMkLst>
        <pc:spChg chg="mod">
          <ac:chgData name="Perez Diaz, Karen" userId="17027623-4de6-4c48-9453-394c2c5804f8" providerId="ADAL" clId="{0F159CBD-F3E0-419B-833B-E99988979A30}" dt="2020-12-17T18:02:52.586" v="78" actId="20577"/>
          <ac:spMkLst>
            <pc:docMk/>
            <pc:sldMk cId="3913551135" sldId="743"/>
            <ac:spMk id="64" creationId="{FCC3EBC2-9D0D-47EA-B152-51B9C42AFCE8}"/>
          </ac:spMkLst>
        </pc:spChg>
        <pc:spChg chg="mod">
          <ac:chgData name="Perez Diaz, Karen" userId="17027623-4de6-4c48-9453-394c2c5804f8" providerId="ADAL" clId="{0F159CBD-F3E0-419B-833B-E99988979A30}" dt="2020-12-17T18:03:17.902" v="97" actId="1037"/>
          <ac:spMkLst>
            <pc:docMk/>
            <pc:sldMk cId="3913551135" sldId="743"/>
            <ac:spMk id="68" creationId="{8297072D-5A85-4366-B2F8-CF75DDD93FCF}"/>
          </ac:spMkLst>
        </pc:spChg>
        <pc:spChg chg="mod topLvl">
          <ac:chgData name="Perez Diaz, Karen" userId="17027623-4de6-4c48-9453-394c2c5804f8" providerId="ADAL" clId="{0F159CBD-F3E0-419B-833B-E99988979A30}" dt="2020-12-17T18:02:04.458" v="39" actId="165"/>
          <ac:spMkLst>
            <pc:docMk/>
            <pc:sldMk cId="3913551135" sldId="743"/>
            <ac:spMk id="73" creationId="{B3185D52-6D45-4941-851A-7D4DCF92E351}"/>
          </ac:spMkLst>
        </pc:spChg>
        <pc:spChg chg="mod">
          <ac:chgData name="Perez Diaz, Karen" userId="17027623-4de6-4c48-9453-394c2c5804f8" providerId="ADAL" clId="{0F159CBD-F3E0-419B-833B-E99988979A30}" dt="2020-12-17T18:02:59.839" v="82" actId="20577"/>
          <ac:spMkLst>
            <pc:docMk/>
            <pc:sldMk cId="3913551135" sldId="743"/>
            <ac:spMk id="74" creationId="{A978716B-E8B2-441F-A5A9-2A2F11559D2E}"/>
          </ac:spMkLst>
        </pc:spChg>
        <pc:spChg chg="mod">
          <ac:chgData name="Perez Diaz, Karen" userId="17027623-4de6-4c48-9453-394c2c5804f8" providerId="ADAL" clId="{0F159CBD-F3E0-419B-833B-E99988979A30}" dt="2020-12-17T18:03:20.410" v="99" actId="20577"/>
          <ac:spMkLst>
            <pc:docMk/>
            <pc:sldMk cId="3913551135" sldId="743"/>
            <ac:spMk id="75" creationId="{A4E9BBFC-D47C-4A4B-9668-6FDA060324CE}"/>
          </ac:spMkLst>
        </pc:spChg>
        <pc:spChg chg="mod topLvl">
          <ac:chgData name="Perez Diaz, Karen" userId="17027623-4de6-4c48-9453-394c2c5804f8" providerId="ADAL" clId="{0F159CBD-F3E0-419B-833B-E99988979A30}" dt="2020-12-17T18:02:04.458" v="39" actId="165"/>
          <ac:spMkLst>
            <pc:docMk/>
            <pc:sldMk cId="3913551135" sldId="743"/>
            <ac:spMk id="76" creationId="{A1C89732-BD6F-46B2-AE5C-A38629C712F5}"/>
          </ac:spMkLst>
        </pc:spChg>
        <pc:grpChg chg="add del mod">
          <ac:chgData name="Perez Diaz, Karen" userId="17027623-4de6-4c48-9453-394c2c5804f8" providerId="ADAL" clId="{0F159CBD-F3E0-419B-833B-E99988979A30}" dt="2020-12-17T18:02:37.027" v="45" actId="478"/>
          <ac:grpSpMkLst>
            <pc:docMk/>
            <pc:sldMk cId="3913551135" sldId="743"/>
            <ac:grpSpMk id="72" creationId="{664EEDB7-B1BB-4054-99B7-D6A3CBE30CEC}"/>
          </ac:grpSpMkLst>
        </pc:grpChg>
        <pc:grpChg chg="add mod">
          <ac:chgData name="Perez Diaz, Karen" userId="17027623-4de6-4c48-9453-394c2c5804f8" providerId="ADAL" clId="{0F159CBD-F3E0-419B-833B-E99988979A30}" dt="2020-12-17T18:02:44.584" v="70" actId="1035"/>
          <ac:grpSpMkLst>
            <pc:docMk/>
            <pc:sldMk cId="3913551135" sldId="743"/>
            <ac:grpSpMk id="78" creationId="{3E8A4C4F-A5DA-49C4-926F-AEA5802E73DA}"/>
          </ac:grpSpMkLst>
        </pc:grpChg>
        <pc:grpChg chg="del">
          <ac:chgData name="Perez Diaz, Karen" userId="17027623-4de6-4c48-9453-394c2c5804f8" providerId="ADAL" clId="{0F159CBD-F3E0-419B-833B-E99988979A30}" dt="2020-12-17T18:00:49.446" v="27" actId="478"/>
          <ac:grpSpMkLst>
            <pc:docMk/>
            <pc:sldMk cId="3913551135" sldId="743"/>
            <ac:grpSpMk id="202" creationId="{3CDAE162-64E4-4CC1-8122-690E9508E68E}"/>
          </ac:grpSpMkLst>
        </pc:grpChg>
        <pc:cxnChg chg="mod">
          <ac:chgData name="Perez Diaz, Karen" userId="17027623-4de6-4c48-9453-394c2c5804f8" providerId="ADAL" clId="{0F159CBD-F3E0-419B-833B-E99988979A30}" dt="2020-12-17T18:00:49.446" v="27" actId="478"/>
          <ac:cxnSpMkLst>
            <pc:docMk/>
            <pc:sldMk cId="3913551135" sldId="743"/>
            <ac:cxnSpMk id="52" creationId="{9A801628-898B-4840-8337-E3F4FCEE2F10}"/>
          </ac:cxnSpMkLst>
        </pc:cxnChg>
        <pc:cxnChg chg="mod">
          <ac:chgData name="Perez Diaz, Karen" userId="17027623-4de6-4c48-9453-394c2c5804f8" providerId="ADAL" clId="{0F159CBD-F3E0-419B-833B-E99988979A30}" dt="2020-12-17T18:00:49.446" v="27" actId="478"/>
          <ac:cxnSpMkLst>
            <pc:docMk/>
            <pc:sldMk cId="3913551135" sldId="743"/>
            <ac:cxnSpMk id="170" creationId="{22C87227-5D49-40A2-A3BC-8592EC3CD579}"/>
          </ac:cxnSpMkLst>
        </pc:cxnChg>
      </pc:sldChg>
    </pc:docChg>
  </pc:docChgLst>
  <pc:docChgLst>
    <pc:chgData name="Stachowiak, Velina" userId="S::stachowiakv@cvshealth.com::7ab26615-9d02-45f3-840d-813ac7c597db" providerId="AD" clId="Web-{5EE3A7B6-AD78-3D4F-B2CA-DD92C8C779BA}"/>
    <pc:docChg chg="modSld">
      <pc:chgData name="Stachowiak, Velina" userId="S::stachowiakv@cvshealth.com::7ab26615-9d02-45f3-840d-813ac7c597db" providerId="AD" clId="Web-{5EE3A7B6-AD78-3D4F-B2CA-DD92C8C779BA}" dt="2021-09-09T16:21:44.224" v="15" actId="20577"/>
      <pc:docMkLst>
        <pc:docMk/>
      </pc:docMkLst>
      <pc:sldChg chg="modSp">
        <pc:chgData name="Stachowiak, Velina" userId="S::stachowiakv@cvshealth.com::7ab26615-9d02-45f3-840d-813ac7c597db" providerId="AD" clId="Web-{5EE3A7B6-AD78-3D4F-B2CA-DD92C8C779BA}" dt="2021-09-09T16:21:44.224" v="15" actId="20577"/>
        <pc:sldMkLst>
          <pc:docMk/>
          <pc:sldMk cId="3197154609" sldId="736"/>
        </pc:sldMkLst>
        <pc:spChg chg="mod">
          <ac:chgData name="Stachowiak, Velina" userId="S::stachowiakv@cvshealth.com::7ab26615-9d02-45f3-840d-813ac7c597db" providerId="AD" clId="Web-{5EE3A7B6-AD78-3D4F-B2CA-DD92C8C779BA}" dt="2021-09-09T16:21:44.224" v="15" actId="20577"/>
          <ac:spMkLst>
            <pc:docMk/>
            <pc:sldMk cId="3197154609" sldId="736"/>
            <ac:spMk id="3" creationId="{AF0DA26D-3B67-40C8-9676-A9B16F9FFEA9}"/>
          </ac:spMkLst>
        </pc:spChg>
      </pc:sldChg>
    </pc:docChg>
  </pc:docChgLst>
  <pc:docChgLst>
    <pc:chgData name="Perez Diaz, Karen" userId="17027623-4de6-4c48-9453-394c2c5804f8" providerId="ADAL" clId="{3501B791-9F75-4F54-BBE5-BF4EED0C480C}"/>
    <pc:docChg chg="modSld">
      <pc:chgData name="Perez Diaz, Karen" userId="17027623-4de6-4c48-9453-394c2c5804f8" providerId="ADAL" clId="{3501B791-9F75-4F54-BBE5-BF4EED0C480C}" dt="2021-03-30T15:30:44.144" v="29" actId="6549"/>
      <pc:docMkLst>
        <pc:docMk/>
      </pc:docMkLst>
      <pc:sldChg chg="modSp mod">
        <pc:chgData name="Perez Diaz, Karen" userId="17027623-4de6-4c48-9453-394c2c5804f8" providerId="ADAL" clId="{3501B791-9F75-4F54-BBE5-BF4EED0C480C}" dt="2021-03-30T15:30:44.144" v="29" actId="6549"/>
        <pc:sldMkLst>
          <pc:docMk/>
          <pc:sldMk cId="313541378" sldId="754"/>
        </pc:sldMkLst>
        <pc:spChg chg="mod">
          <ac:chgData name="Perez Diaz, Karen" userId="17027623-4de6-4c48-9453-394c2c5804f8" providerId="ADAL" clId="{3501B791-9F75-4F54-BBE5-BF4EED0C480C}" dt="2021-03-30T15:30:44.144" v="29" actId="6549"/>
          <ac:spMkLst>
            <pc:docMk/>
            <pc:sldMk cId="313541378" sldId="754"/>
            <ac:spMk id="4" creationId="{3391FEEF-F27B-41D9-B582-F93BB491DB23}"/>
          </ac:spMkLst>
        </pc:spChg>
      </pc:sldChg>
      <pc:sldChg chg="modSp mod">
        <pc:chgData name="Perez Diaz, Karen" userId="17027623-4de6-4c48-9453-394c2c5804f8" providerId="ADAL" clId="{3501B791-9F75-4F54-BBE5-BF4EED0C480C}" dt="2021-03-30T14:51:03.343" v="26" actId="20577"/>
        <pc:sldMkLst>
          <pc:docMk/>
          <pc:sldMk cId="159236654" sldId="756"/>
        </pc:sldMkLst>
        <pc:graphicFrameChg chg="modGraphic">
          <ac:chgData name="Perez Diaz, Karen" userId="17027623-4de6-4c48-9453-394c2c5804f8" providerId="ADAL" clId="{3501B791-9F75-4F54-BBE5-BF4EED0C480C}" dt="2021-03-30T14:51:03.343" v="26" actId="20577"/>
          <ac:graphicFrameMkLst>
            <pc:docMk/>
            <pc:sldMk cId="159236654" sldId="756"/>
            <ac:graphicFrameMk id="4" creationId="{EFE116FC-4BF9-4DAF-B1E7-29701B258F6F}"/>
          </ac:graphicFrameMkLst>
        </pc:graphicFrameChg>
      </pc:sldChg>
      <pc:sldChg chg="modSp mod">
        <pc:chgData name="Perez Diaz, Karen" userId="17027623-4de6-4c48-9453-394c2c5804f8" providerId="ADAL" clId="{3501B791-9F75-4F54-BBE5-BF4EED0C480C}" dt="2021-03-30T15:20:35.908" v="28" actId="113"/>
        <pc:sldMkLst>
          <pc:docMk/>
          <pc:sldMk cId="2687953584" sldId="759"/>
        </pc:sldMkLst>
        <pc:spChg chg="mod">
          <ac:chgData name="Perez Diaz, Karen" userId="17027623-4de6-4c48-9453-394c2c5804f8" providerId="ADAL" clId="{3501B791-9F75-4F54-BBE5-BF4EED0C480C}" dt="2021-03-30T14:49:59.660" v="0" actId="13926"/>
          <ac:spMkLst>
            <pc:docMk/>
            <pc:sldMk cId="2687953584" sldId="759"/>
            <ac:spMk id="3" creationId="{384271D1-284E-42C0-A1FC-64F24F41D3A5}"/>
          </ac:spMkLst>
        </pc:spChg>
        <pc:graphicFrameChg chg="modGraphic">
          <ac:chgData name="Perez Diaz, Karen" userId="17027623-4de6-4c48-9453-394c2c5804f8" providerId="ADAL" clId="{3501B791-9F75-4F54-BBE5-BF4EED0C480C}" dt="2021-03-30T15:20:35.908" v="28" actId="113"/>
          <ac:graphicFrameMkLst>
            <pc:docMk/>
            <pc:sldMk cId="2687953584" sldId="759"/>
            <ac:graphicFrameMk id="6" creationId="{D3664D7F-0A45-46CB-8FED-4E8FFE29E40A}"/>
          </ac:graphicFrameMkLst>
        </pc:graphicFrameChg>
      </pc:sldChg>
    </pc:docChg>
  </pc:docChgLst>
  <pc:docChgLst>
    <pc:chgData name="Perez Diaz, Karen" userId="17027623-4de6-4c48-9453-394c2c5804f8" providerId="ADAL" clId="{8F2BC0AC-B0BF-49C6-A4FB-8A1A97211134}"/>
    <pc:docChg chg="undo custSel addSld modSld">
      <pc:chgData name="Perez Diaz, Karen" userId="17027623-4de6-4c48-9453-394c2c5804f8" providerId="ADAL" clId="{8F2BC0AC-B0BF-49C6-A4FB-8A1A97211134}" dt="2021-04-13T20:11:25.805" v="482" actId="20577"/>
      <pc:docMkLst>
        <pc:docMk/>
      </pc:docMkLst>
      <pc:sldChg chg="modSp mod">
        <pc:chgData name="Perez Diaz, Karen" userId="17027623-4de6-4c48-9453-394c2c5804f8" providerId="ADAL" clId="{8F2BC0AC-B0BF-49C6-A4FB-8A1A97211134}" dt="2021-04-13T19:08:03.734" v="4" actId="20577"/>
        <pc:sldMkLst>
          <pc:docMk/>
          <pc:sldMk cId="3197154609" sldId="736"/>
        </pc:sldMkLst>
        <pc:spChg chg="mod">
          <ac:chgData name="Perez Diaz, Karen" userId="17027623-4de6-4c48-9453-394c2c5804f8" providerId="ADAL" clId="{8F2BC0AC-B0BF-49C6-A4FB-8A1A97211134}" dt="2021-04-13T19:08:03.734" v="4" actId="20577"/>
          <ac:spMkLst>
            <pc:docMk/>
            <pc:sldMk cId="3197154609" sldId="736"/>
            <ac:spMk id="3" creationId="{AF0DA26D-3B67-40C8-9676-A9B16F9FFEA9}"/>
          </ac:spMkLst>
        </pc:spChg>
      </pc:sldChg>
      <pc:sldChg chg="modSp mod">
        <pc:chgData name="Perez Diaz, Karen" userId="17027623-4de6-4c48-9453-394c2c5804f8" providerId="ADAL" clId="{8F2BC0AC-B0BF-49C6-A4FB-8A1A97211134}" dt="2021-04-13T20:11:25.805" v="482" actId="20577"/>
        <pc:sldMkLst>
          <pc:docMk/>
          <pc:sldMk cId="3216517808" sldId="738"/>
        </pc:sldMkLst>
        <pc:spChg chg="mod">
          <ac:chgData name="Perez Diaz, Karen" userId="17027623-4de6-4c48-9453-394c2c5804f8" providerId="ADAL" clId="{8F2BC0AC-B0BF-49C6-A4FB-8A1A97211134}" dt="2021-04-13T20:11:25.805" v="482" actId="20577"/>
          <ac:spMkLst>
            <pc:docMk/>
            <pc:sldMk cId="3216517808" sldId="738"/>
            <ac:spMk id="17" creationId="{05745967-7367-4DAD-B714-7E64C7F7BAA4}"/>
          </ac:spMkLst>
        </pc:spChg>
      </pc:sldChg>
      <pc:sldChg chg="modSp mod">
        <pc:chgData name="Perez Diaz, Karen" userId="17027623-4de6-4c48-9453-394c2c5804f8" providerId="ADAL" clId="{8F2BC0AC-B0BF-49C6-A4FB-8A1A97211134}" dt="2021-04-13T19:40:02.106" v="227" actId="255"/>
        <pc:sldMkLst>
          <pc:docMk/>
          <pc:sldMk cId="4110761666" sldId="753"/>
        </pc:sldMkLst>
        <pc:graphicFrameChg chg="mod modGraphic">
          <ac:chgData name="Perez Diaz, Karen" userId="17027623-4de6-4c48-9453-394c2c5804f8" providerId="ADAL" clId="{8F2BC0AC-B0BF-49C6-A4FB-8A1A97211134}" dt="2021-04-13T19:40:02.106" v="227" actId="255"/>
          <ac:graphicFrameMkLst>
            <pc:docMk/>
            <pc:sldMk cId="4110761666" sldId="753"/>
            <ac:graphicFrameMk id="5" creationId="{70F9371E-F78A-4060-92E1-259C0C348C60}"/>
          </ac:graphicFrameMkLst>
        </pc:graphicFrameChg>
      </pc:sldChg>
      <pc:sldChg chg="modSp mod">
        <pc:chgData name="Perez Diaz, Karen" userId="17027623-4de6-4c48-9453-394c2c5804f8" providerId="ADAL" clId="{8F2BC0AC-B0BF-49C6-A4FB-8A1A97211134}" dt="2021-04-13T20:05:38.031" v="337" actId="20577"/>
        <pc:sldMkLst>
          <pc:docMk/>
          <pc:sldMk cId="313541378" sldId="754"/>
        </pc:sldMkLst>
        <pc:spChg chg="mod">
          <ac:chgData name="Perez Diaz, Karen" userId="17027623-4de6-4c48-9453-394c2c5804f8" providerId="ADAL" clId="{8F2BC0AC-B0BF-49C6-A4FB-8A1A97211134}" dt="2021-04-13T20:05:38.031" v="337" actId="20577"/>
          <ac:spMkLst>
            <pc:docMk/>
            <pc:sldMk cId="313541378" sldId="754"/>
            <ac:spMk id="4" creationId="{3391FEEF-F27B-41D9-B582-F93BB491DB23}"/>
          </ac:spMkLst>
        </pc:spChg>
      </pc:sldChg>
      <pc:sldChg chg="modSp mod">
        <pc:chgData name="Perez Diaz, Karen" userId="17027623-4de6-4c48-9453-394c2c5804f8" providerId="ADAL" clId="{8F2BC0AC-B0BF-49C6-A4FB-8A1A97211134}" dt="2021-04-13T20:05:46.276" v="339" actId="14100"/>
        <pc:sldMkLst>
          <pc:docMk/>
          <pc:sldMk cId="3220359219" sldId="758"/>
        </pc:sldMkLst>
        <pc:spChg chg="mod">
          <ac:chgData name="Perez Diaz, Karen" userId="17027623-4de6-4c48-9453-394c2c5804f8" providerId="ADAL" clId="{8F2BC0AC-B0BF-49C6-A4FB-8A1A97211134}" dt="2021-04-13T20:05:46.276" v="339" actId="14100"/>
          <ac:spMkLst>
            <pc:docMk/>
            <pc:sldMk cId="3220359219" sldId="758"/>
            <ac:spMk id="4" creationId="{3391FEEF-F27B-41D9-B582-F93BB491DB23}"/>
          </ac:spMkLst>
        </pc:spChg>
      </pc:sldChg>
      <pc:sldChg chg="addSp delSp modSp add mod">
        <pc:chgData name="Perez Diaz, Karen" userId="17027623-4de6-4c48-9453-394c2c5804f8" providerId="ADAL" clId="{8F2BC0AC-B0BF-49C6-A4FB-8A1A97211134}" dt="2021-04-13T20:04:10.041" v="304" actId="14100"/>
        <pc:sldMkLst>
          <pc:docMk/>
          <pc:sldMk cId="1958526643" sldId="760"/>
        </pc:sldMkLst>
        <pc:spChg chg="mod">
          <ac:chgData name="Perez Diaz, Karen" userId="17027623-4de6-4c48-9453-394c2c5804f8" providerId="ADAL" clId="{8F2BC0AC-B0BF-49C6-A4FB-8A1A97211134}" dt="2021-04-13T19:31:19.245" v="147" actId="1076"/>
          <ac:spMkLst>
            <pc:docMk/>
            <pc:sldMk cId="1958526643" sldId="760"/>
            <ac:spMk id="2" creationId="{04385547-98E8-45E5-B7CD-FF0E4583064A}"/>
          </ac:spMkLst>
        </pc:spChg>
        <pc:graphicFrameChg chg="add del mod modGraphic">
          <ac:chgData name="Perez Diaz, Karen" userId="17027623-4de6-4c48-9453-394c2c5804f8" providerId="ADAL" clId="{8F2BC0AC-B0BF-49C6-A4FB-8A1A97211134}" dt="2021-04-13T19:31:46.293" v="150" actId="478"/>
          <ac:graphicFrameMkLst>
            <pc:docMk/>
            <pc:sldMk cId="1958526643" sldId="760"/>
            <ac:graphicFrameMk id="3" creationId="{EB691098-F978-4945-A06C-59EACED71F8E}"/>
          </ac:graphicFrameMkLst>
        </pc:graphicFrameChg>
        <pc:graphicFrameChg chg="del">
          <ac:chgData name="Perez Diaz, Karen" userId="17027623-4de6-4c48-9453-394c2c5804f8" providerId="ADAL" clId="{8F2BC0AC-B0BF-49C6-A4FB-8A1A97211134}" dt="2021-04-13T19:31:02.327" v="142" actId="478"/>
          <ac:graphicFrameMkLst>
            <pc:docMk/>
            <pc:sldMk cId="1958526643" sldId="760"/>
            <ac:graphicFrameMk id="4" creationId="{EFE116FC-4BF9-4DAF-B1E7-29701B258F6F}"/>
          </ac:graphicFrameMkLst>
        </pc:graphicFrameChg>
        <pc:graphicFrameChg chg="add del mod modGraphic">
          <ac:chgData name="Perez Diaz, Karen" userId="17027623-4de6-4c48-9453-394c2c5804f8" providerId="ADAL" clId="{8F2BC0AC-B0BF-49C6-A4FB-8A1A97211134}" dt="2021-04-13T19:33:29.484" v="160" actId="478"/>
          <ac:graphicFrameMkLst>
            <pc:docMk/>
            <pc:sldMk cId="1958526643" sldId="760"/>
            <ac:graphicFrameMk id="5" creationId="{996DBB51-4363-4275-898E-5428B5A00610}"/>
          </ac:graphicFrameMkLst>
        </pc:graphicFrameChg>
        <pc:graphicFrameChg chg="add del mod modGraphic">
          <ac:chgData name="Perez Diaz, Karen" userId="17027623-4de6-4c48-9453-394c2c5804f8" providerId="ADAL" clId="{8F2BC0AC-B0BF-49C6-A4FB-8A1A97211134}" dt="2021-04-13T19:34:18.468" v="165" actId="478"/>
          <ac:graphicFrameMkLst>
            <pc:docMk/>
            <pc:sldMk cId="1958526643" sldId="760"/>
            <ac:graphicFrameMk id="6" creationId="{39FDEC1A-52FE-498B-8A26-B692027209C5}"/>
          </ac:graphicFrameMkLst>
        </pc:graphicFrameChg>
        <pc:graphicFrameChg chg="add del mod modGraphic">
          <ac:chgData name="Perez Diaz, Karen" userId="17027623-4de6-4c48-9453-394c2c5804f8" providerId="ADAL" clId="{8F2BC0AC-B0BF-49C6-A4FB-8A1A97211134}" dt="2021-04-13T19:43:35.029" v="229" actId="478"/>
          <ac:graphicFrameMkLst>
            <pc:docMk/>
            <pc:sldMk cId="1958526643" sldId="760"/>
            <ac:graphicFrameMk id="7" creationId="{63534508-8F32-4A24-BBAB-A77860B8FA93}"/>
          </ac:graphicFrameMkLst>
        </pc:graphicFrameChg>
        <pc:graphicFrameChg chg="add mod modGraphic">
          <ac:chgData name="Perez Diaz, Karen" userId="17027623-4de6-4c48-9453-394c2c5804f8" providerId="ADAL" clId="{8F2BC0AC-B0BF-49C6-A4FB-8A1A97211134}" dt="2021-04-13T20:04:10.041" v="304" actId="14100"/>
          <ac:graphicFrameMkLst>
            <pc:docMk/>
            <pc:sldMk cId="1958526643" sldId="760"/>
            <ac:graphicFrameMk id="8" creationId="{39A5128B-C2FB-4E8F-8E52-44EEC29EECDD}"/>
          </ac:graphicFrameMkLst>
        </pc:graphicFrameChg>
      </pc:sldChg>
      <pc:sldChg chg="addSp delSp modSp add mod">
        <pc:chgData name="Perez Diaz, Karen" userId="17027623-4de6-4c48-9453-394c2c5804f8" providerId="ADAL" clId="{8F2BC0AC-B0BF-49C6-A4FB-8A1A97211134}" dt="2021-04-13T20:06:02.423" v="354" actId="20577"/>
        <pc:sldMkLst>
          <pc:docMk/>
          <pc:sldMk cId="2427708320" sldId="761"/>
        </pc:sldMkLst>
        <pc:spChg chg="mod">
          <ac:chgData name="Perez Diaz, Karen" userId="17027623-4de6-4c48-9453-394c2c5804f8" providerId="ADAL" clId="{8F2BC0AC-B0BF-49C6-A4FB-8A1A97211134}" dt="2021-04-13T19:08:36.515" v="9" actId="20577"/>
          <ac:spMkLst>
            <pc:docMk/>
            <pc:sldMk cId="2427708320" sldId="761"/>
            <ac:spMk id="2" creationId="{AECEAB9A-4052-4EF4-B24B-BD317033D159}"/>
          </ac:spMkLst>
        </pc:spChg>
        <pc:spChg chg="mod">
          <ac:chgData name="Perez Diaz, Karen" userId="17027623-4de6-4c48-9453-394c2c5804f8" providerId="ADAL" clId="{8F2BC0AC-B0BF-49C6-A4FB-8A1A97211134}" dt="2021-04-13T19:10:05.065" v="38" actId="20577"/>
          <ac:spMkLst>
            <pc:docMk/>
            <pc:sldMk cId="2427708320" sldId="761"/>
            <ac:spMk id="3" creationId="{A2A7ACBE-BDCD-4F26-956E-BBAF98176ED7}"/>
          </ac:spMkLst>
        </pc:spChg>
        <pc:spChg chg="mod">
          <ac:chgData name="Perez Diaz, Karen" userId="17027623-4de6-4c48-9453-394c2c5804f8" providerId="ADAL" clId="{8F2BC0AC-B0BF-49C6-A4FB-8A1A97211134}" dt="2021-04-13T20:06:02.423" v="354" actId="20577"/>
          <ac:spMkLst>
            <pc:docMk/>
            <pc:sldMk cId="2427708320" sldId="761"/>
            <ac:spMk id="4" creationId="{3391FEEF-F27B-41D9-B582-F93BB491DB23}"/>
          </ac:spMkLst>
        </pc:spChg>
        <pc:graphicFrameChg chg="del">
          <ac:chgData name="Perez Diaz, Karen" userId="17027623-4de6-4c48-9453-394c2c5804f8" providerId="ADAL" clId="{8F2BC0AC-B0BF-49C6-A4FB-8A1A97211134}" dt="2021-04-13T20:00:25.601" v="283" actId="478"/>
          <ac:graphicFrameMkLst>
            <pc:docMk/>
            <pc:sldMk cId="2427708320" sldId="761"/>
            <ac:graphicFrameMk id="5" creationId="{CFFC21C1-D8DC-44A8-8916-D41D38B0EE0C}"/>
          </ac:graphicFrameMkLst>
        </pc:graphicFrameChg>
        <pc:graphicFrameChg chg="add mod modGraphic">
          <ac:chgData name="Perez Diaz, Karen" userId="17027623-4de6-4c48-9453-394c2c5804f8" providerId="ADAL" clId="{8F2BC0AC-B0BF-49C6-A4FB-8A1A97211134}" dt="2021-04-13T20:02:09.297" v="294" actId="207"/>
          <ac:graphicFrameMkLst>
            <pc:docMk/>
            <pc:sldMk cId="2427708320" sldId="761"/>
            <ac:graphicFrameMk id="6" creationId="{41CAD8A0-253E-4F00-8BCF-B2E019DCD39F}"/>
          </ac:graphicFrameMkLst>
        </pc:graphicFrameChg>
      </pc:sldChg>
    </pc:docChg>
  </pc:docChgLst>
  <pc:docChgLst>
    <pc:chgData name="Perez Diaz, Karen" userId="17027623-4de6-4c48-9453-394c2c5804f8" providerId="ADAL" clId="{C9AD2782-66D2-4C59-9C6F-D77D45239006}"/>
    <pc:docChg chg="modSld">
      <pc:chgData name="Perez Diaz, Karen" userId="17027623-4de6-4c48-9453-394c2c5804f8" providerId="ADAL" clId="{C9AD2782-66D2-4C59-9C6F-D77D45239006}" dt="2021-01-12T17:28:06.569" v="7" actId="20577"/>
      <pc:docMkLst>
        <pc:docMk/>
      </pc:docMkLst>
      <pc:sldChg chg="modSp">
        <pc:chgData name="Perez Diaz, Karen" userId="17027623-4de6-4c48-9453-394c2c5804f8" providerId="ADAL" clId="{C9AD2782-66D2-4C59-9C6F-D77D45239006}" dt="2021-01-12T17:28:06.569" v="7" actId="20577"/>
        <pc:sldMkLst>
          <pc:docMk/>
          <pc:sldMk cId="3197154609" sldId="736"/>
        </pc:sldMkLst>
        <pc:spChg chg="mod">
          <ac:chgData name="Perez Diaz, Karen" userId="17027623-4de6-4c48-9453-394c2c5804f8" providerId="ADAL" clId="{C9AD2782-66D2-4C59-9C6F-D77D45239006}" dt="2021-01-12T17:28:06.569" v="7" actId="20577"/>
          <ac:spMkLst>
            <pc:docMk/>
            <pc:sldMk cId="3197154609" sldId="736"/>
            <ac:spMk id="3" creationId="{AF0DA26D-3B67-40C8-9676-A9B16F9FFEA9}"/>
          </ac:spMkLst>
        </pc:spChg>
      </pc:sldChg>
    </pc:docChg>
  </pc:docChgLst>
  <pc:docChgLst>
    <pc:chgData name="Karen Perez Diaz" userId="17027623-4de6-4c48-9453-394c2c5804f8" providerId="ADAL" clId="{DF10F452-8148-4364-94E8-18FA456F9EC7}"/>
    <pc:docChg chg="undo modSld">
      <pc:chgData name="Karen Perez Diaz" userId="17027623-4de6-4c48-9453-394c2c5804f8" providerId="ADAL" clId="{DF10F452-8148-4364-94E8-18FA456F9EC7}" dt="2021-01-13T19:33:19.188" v="290" actId="6549"/>
      <pc:docMkLst>
        <pc:docMk/>
      </pc:docMkLst>
      <pc:sldChg chg="modSp">
        <pc:chgData name="Karen Perez Diaz" userId="17027623-4de6-4c48-9453-394c2c5804f8" providerId="ADAL" clId="{DF10F452-8148-4364-94E8-18FA456F9EC7}" dt="2021-01-13T19:18:06.999" v="145" actId="6549"/>
        <pc:sldMkLst>
          <pc:docMk/>
          <pc:sldMk cId="753726229" sldId="379"/>
        </pc:sldMkLst>
        <pc:spChg chg="mod">
          <ac:chgData name="Karen Perez Diaz" userId="17027623-4de6-4c48-9453-394c2c5804f8" providerId="ADAL" clId="{DF10F452-8148-4364-94E8-18FA456F9EC7}" dt="2021-01-13T19:16:09.994" v="11" actId="20577"/>
          <ac:spMkLst>
            <pc:docMk/>
            <pc:sldMk cId="753726229" sldId="379"/>
            <ac:spMk id="38" creationId="{1A443F8F-8D68-42AA-BAEE-15BC368AA565}"/>
          </ac:spMkLst>
        </pc:spChg>
        <pc:spChg chg="mod">
          <ac:chgData name="Karen Perez Diaz" userId="17027623-4de6-4c48-9453-394c2c5804f8" providerId="ADAL" clId="{DF10F452-8148-4364-94E8-18FA456F9EC7}" dt="2021-01-13T19:18:06.999" v="145" actId="6549"/>
          <ac:spMkLst>
            <pc:docMk/>
            <pc:sldMk cId="753726229" sldId="379"/>
            <ac:spMk id="48" creationId="{0415831F-B7AD-4DDD-86CF-4F02CD25D1C2}"/>
          </ac:spMkLst>
        </pc:spChg>
      </pc:sldChg>
      <pc:sldChg chg="modSp">
        <pc:chgData name="Karen Perez Diaz" userId="17027623-4de6-4c48-9453-394c2c5804f8" providerId="ADAL" clId="{DF10F452-8148-4364-94E8-18FA456F9EC7}" dt="2021-01-13T19:33:19.188" v="290" actId="6549"/>
        <pc:sldMkLst>
          <pc:docMk/>
          <pc:sldMk cId="1285900942" sldId="737"/>
        </pc:sldMkLst>
        <pc:spChg chg="mod">
          <ac:chgData name="Karen Perez Diaz" userId="17027623-4de6-4c48-9453-394c2c5804f8" providerId="ADAL" clId="{DF10F452-8148-4364-94E8-18FA456F9EC7}" dt="2021-01-13T19:33:19.188" v="290" actId="6549"/>
          <ac:spMkLst>
            <pc:docMk/>
            <pc:sldMk cId="1285900942" sldId="737"/>
            <ac:spMk id="14" creationId="{05745967-7367-4DAD-B714-7E64C7F7BAA4}"/>
          </ac:spMkLst>
        </pc:spChg>
      </pc:sldChg>
      <pc:sldChg chg="modSp">
        <pc:chgData name="Karen Perez Diaz" userId="17027623-4de6-4c48-9453-394c2c5804f8" providerId="ADAL" clId="{DF10F452-8148-4364-94E8-18FA456F9EC7}" dt="2021-01-13T19:32:13.097" v="278" actId="20577"/>
        <pc:sldMkLst>
          <pc:docMk/>
          <pc:sldMk cId="3216517808" sldId="738"/>
        </pc:sldMkLst>
        <pc:spChg chg="mod">
          <ac:chgData name="Karen Perez Diaz" userId="17027623-4de6-4c48-9453-394c2c5804f8" providerId="ADAL" clId="{DF10F452-8148-4364-94E8-18FA456F9EC7}" dt="2021-01-13T19:32:13.097" v="278" actId="20577"/>
          <ac:spMkLst>
            <pc:docMk/>
            <pc:sldMk cId="3216517808" sldId="738"/>
            <ac:spMk id="24" creationId="{05745967-7367-4DAD-B714-7E64C7F7BAA4}"/>
          </ac:spMkLst>
        </pc:spChg>
      </pc:sldChg>
    </pc:docChg>
  </pc:docChgLst>
  <pc:docChgLst>
    <pc:chgData name="Liu, Lala" userId="S::lala@cvshealth.com::724b13f2-a83a-4f96-ba6f-24a2a8224d15" providerId="AD" clId="Web-{D1CAC03F-D28E-556A-FC26-EB7576AF4C28}"/>
    <pc:docChg chg="modSld">
      <pc:chgData name="Liu, Lala" userId="S::lala@cvshealth.com::724b13f2-a83a-4f96-ba6f-24a2a8224d15" providerId="AD" clId="Web-{D1CAC03F-D28E-556A-FC26-EB7576AF4C28}" dt="2021-10-27T21:00:35.113" v="0" actId="1076"/>
      <pc:docMkLst>
        <pc:docMk/>
      </pc:docMkLst>
      <pc:sldChg chg="modSp">
        <pc:chgData name="Liu, Lala" userId="S::lala@cvshealth.com::724b13f2-a83a-4f96-ba6f-24a2a8224d15" providerId="AD" clId="Web-{D1CAC03F-D28E-556A-FC26-EB7576AF4C28}" dt="2021-10-27T21:00:35.113" v="0" actId="1076"/>
        <pc:sldMkLst>
          <pc:docMk/>
          <pc:sldMk cId="1681002253" sldId="257389"/>
        </pc:sldMkLst>
        <pc:picChg chg="mod">
          <ac:chgData name="Liu, Lala" userId="S::lala@cvshealth.com::724b13f2-a83a-4f96-ba6f-24a2a8224d15" providerId="AD" clId="Web-{D1CAC03F-D28E-556A-FC26-EB7576AF4C28}" dt="2021-10-27T21:00:35.113" v="0" actId="1076"/>
          <ac:picMkLst>
            <pc:docMk/>
            <pc:sldMk cId="1681002253" sldId="257389"/>
            <ac:picMk id="12" creationId="{5E08B843-F0C8-494F-A07F-BBE91BF09C0A}"/>
          </ac:picMkLst>
        </pc:picChg>
      </pc:sldChg>
    </pc:docChg>
  </pc:docChgLst>
  <pc:docChgLst>
    <pc:chgData name="Perez Diaz, Karen" userId="17027623-4de6-4c48-9453-394c2c5804f8" providerId="ADAL" clId="{3DD83CB9-883B-4A6C-9CC8-19B136F16CD4}"/>
    <pc:docChg chg="modSld">
      <pc:chgData name="Perez Diaz, Karen" userId="17027623-4de6-4c48-9453-394c2c5804f8" providerId="ADAL" clId="{3DD83CB9-883B-4A6C-9CC8-19B136F16CD4}" dt="2021-05-05T15:37:49.495" v="20" actId="20577"/>
      <pc:docMkLst>
        <pc:docMk/>
      </pc:docMkLst>
      <pc:sldChg chg="modSp mod">
        <pc:chgData name="Perez Diaz, Karen" userId="17027623-4de6-4c48-9453-394c2c5804f8" providerId="ADAL" clId="{3DD83CB9-883B-4A6C-9CC8-19B136F16CD4}" dt="2021-05-05T15:37:49.495" v="20" actId="20577"/>
        <pc:sldMkLst>
          <pc:docMk/>
          <pc:sldMk cId="1546832768" sldId="763"/>
        </pc:sldMkLst>
        <pc:spChg chg="mod">
          <ac:chgData name="Perez Diaz, Karen" userId="17027623-4de6-4c48-9453-394c2c5804f8" providerId="ADAL" clId="{3DD83CB9-883B-4A6C-9CC8-19B136F16CD4}" dt="2021-05-05T15:36:26.620" v="9" actId="6549"/>
          <ac:spMkLst>
            <pc:docMk/>
            <pc:sldMk cId="1546832768" sldId="763"/>
            <ac:spMk id="2" creationId="{895A63C0-F91A-4580-9756-F242EB4C4268}"/>
          </ac:spMkLst>
        </pc:spChg>
        <pc:graphicFrameChg chg="modGraphic">
          <ac:chgData name="Perez Diaz, Karen" userId="17027623-4de6-4c48-9453-394c2c5804f8" providerId="ADAL" clId="{3DD83CB9-883B-4A6C-9CC8-19B136F16CD4}" dt="2021-05-05T15:37:49.495" v="20" actId="20577"/>
          <ac:graphicFrameMkLst>
            <pc:docMk/>
            <pc:sldMk cId="1546832768" sldId="763"/>
            <ac:graphicFrameMk id="7" creationId="{76CCF4A6-E904-42DA-9A31-5DA01D415FE9}"/>
          </ac:graphicFrameMkLst>
        </pc:graphicFrameChg>
      </pc:sldChg>
    </pc:docChg>
  </pc:docChgLst>
  <pc:docChgLst>
    <pc:chgData name="Perez Diaz, Karen" userId="17027623-4de6-4c48-9453-394c2c5804f8" providerId="ADAL" clId="{29370469-C559-41E6-B5B3-74A9DA2D409B}"/>
    <pc:docChg chg="undo custSel addSld delSld modSld">
      <pc:chgData name="Perez Diaz, Karen" userId="17027623-4de6-4c48-9453-394c2c5804f8" providerId="ADAL" clId="{29370469-C559-41E6-B5B3-74A9DA2D409B}" dt="2021-01-28T16:59:34.084" v="1761"/>
      <pc:docMkLst>
        <pc:docMk/>
      </pc:docMkLst>
      <pc:sldChg chg="modSp">
        <pc:chgData name="Perez Diaz, Karen" userId="17027623-4de6-4c48-9453-394c2c5804f8" providerId="ADAL" clId="{29370469-C559-41E6-B5B3-74A9DA2D409B}" dt="2021-01-28T16:14:30.939" v="1367" actId="13926"/>
        <pc:sldMkLst>
          <pc:docMk/>
          <pc:sldMk cId="3887687176" sldId="260"/>
        </pc:sldMkLst>
        <pc:spChg chg="mod">
          <ac:chgData name="Perez Diaz, Karen" userId="17027623-4de6-4c48-9453-394c2c5804f8" providerId="ADAL" clId="{29370469-C559-41E6-B5B3-74A9DA2D409B}" dt="2021-01-28T16:14:30.939" v="1367" actId="13926"/>
          <ac:spMkLst>
            <pc:docMk/>
            <pc:sldMk cId="3887687176" sldId="260"/>
            <ac:spMk id="3" creationId="{00000000-0000-0000-0000-000000000000}"/>
          </ac:spMkLst>
        </pc:spChg>
        <pc:spChg chg="mod">
          <ac:chgData name="Perez Diaz, Karen" userId="17027623-4de6-4c48-9453-394c2c5804f8" providerId="ADAL" clId="{29370469-C559-41E6-B5B3-74A9DA2D409B}" dt="2021-01-28T16:14:23.204" v="1366" actId="13926"/>
          <ac:spMkLst>
            <pc:docMk/>
            <pc:sldMk cId="3887687176" sldId="260"/>
            <ac:spMk id="6" creationId="{00000000-0000-0000-0000-000000000000}"/>
          </ac:spMkLst>
        </pc:spChg>
        <pc:spChg chg="mod">
          <ac:chgData name="Perez Diaz, Karen" userId="17027623-4de6-4c48-9453-394c2c5804f8" providerId="ADAL" clId="{29370469-C559-41E6-B5B3-74A9DA2D409B}" dt="2021-01-28T15:52:22.636" v="1325"/>
          <ac:spMkLst>
            <pc:docMk/>
            <pc:sldMk cId="3887687176" sldId="260"/>
            <ac:spMk id="10" creationId="{00000000-0000-0000-0000-000000000000}"/>
          </ac:spMkLst>
        </pc:spChg>
      </pc:sldChg>
      <pc:sldChg chg="modSp">
        <pc:chgData name="Perez Diaz, Karen" userId="17027623-4de6-4c48-9453-394c2c5804f8" providerId="ADAL" clId="{29370469-C559-41E6-B5B3-74A9DA2D409B}" dt="2021-01-28T16:20:14.841" v="1369" actId="13926"/>
        <pc:sldMkLst>
          <pc:docMk/>
          <pc:sldMk cId="753726229" sldId="379"/>
        </pc:sldMkLst>
        <pc:spChg chg="mod">
          <ac:chgData name="Perez Diaz, Karen" userId="17027623-4de6-4c48-9453-394c2c5804f8" providerId="ADAL" clId="{29370469-C559-41E6-B5B3-74A9DA2D409B}" dt="2021-01-28T16:20:14.841" v="1369" actId="13926"/>
          <ac:spMkLst>
            <pc:docMk/>
            <pc:sldMk cId="753726229" sldId="379"/>
            <ac:spMk id="30" creationId="{39C286EB-B4EB-407E-9E61-97D02F492D65}"/>
          </ac:spMkLst>
        </pc:spChg>
        <pc:spChg chg="mod">
          <ac:chgData name="Perez Diaz, Karen" userId="17027623-4de6-4c48-9453-394c2c5804f8" providerId="ADAL" clId="{29370469-C559-41E6-B5B3-74A9DA2D409B}" dt="2021-01-28T16:19:35.141" v="1368" actId="13926"/>
          <ac:spMkLst>
            <pc:docMk/>
            <pc:sldMk cId="753726229" sldId="379"/>
            <ac:spMk id="37" creationId="{37818ACD-A1BA-46CD-BD1C-730994A6DFC3}"/>
          </ac:spMkLst>
        </pc:spChg>
        <pc:spChg chg="mod">
          <ac:chgData name="Perez Diaz, Karen" userId="17027623-4de6-4c48-9453-394c2c5804f8" providerId="ADAL" clId="{29370469-C559-41E6-B5B3-74A9DA2D409B}" dt="2021-01-27T16:50:49.944" v="334" actId="13926"/>
          <ac:spMkLst>
            <pc:docMk/>
            <pc:sldMk cId="753726229" sldId="379"/>
            <ac:spMk id="38" creationId="{1A443F8F-8D68-42AA-BAEE-15BC368AA565}"/>
          </ac:spMkLst>
        </pc:spChg>
      </pc:sldChg>
      <pc:sldChg chg="modSp add">
        <pc:chgData name="Perez Diaz, Karen" userId="17027623-4de6-4c48-9453-394c2c5804f8" providerId="ADAL" clId="{29370469-C559-41E6-B5B3-74A9DA2D409B}" dt="2021-01-20T20:03:42.462" v="131" actId="20577"/>
        <pc:sldMkLst>
          <pc:docMk/>
          <pc:sldMk cId="2282214342" sldId="649"/>
        </pc:sldMkLst>
        <pc:spChg chg="mod">
          <ac:chgData name="Perez Diaz, Karen" userId="17027623-4de6-4c48-9453-394c2c5804f8" providerId="ADAL" clId="{29370469-C559-41E6-B5B3-74A9DA2D409B}" dt="2021-01-20T20:03:42.462" v="131" actId="20577"/>
          <ac:spMkLst>
            <pc:docMk/>
            <pc:sldMk cId="2282214342" sldId="649"/>
            <ac:spMk id="4" creationId="{26E12D9D-AA9C-4FD9-9EAD-A7D0631B54D7}"/>
          </ac:spMkLst>
        </pc:spChg>
      </pc:sldChg>
      <pc:sldChg chg="modSp add">
        <pc:chgData name="Perez Diaz, Karen" userId="17027623-4de6-4c48-9453-394c2c5804f8" providerId="ADAL" clId="{29370469-C559-41E6-B5B3-74A9DA2D409B}" dt="2021-01-27T15:23:28.011" v="202" actId="20577"/>
        <pc:sldMkLst>
          <pc:docMk/>
          <pc:sldMk cId="1278736077" sldId="660"/>
        </pc:sldMkLst>
        <pc:spChg chg="mod">
          <ac:chgData name="Perez Diaz, Karen" userId="17027623-4de6-4c48-9453-394c2c5804f8" providerId="ADAL" clId="{29370469-C559-41E6-B5B3-74A9DA2D409B}" dt="2021-01-20T20:03:50.416" v="150" actId="20577"/>
          <ac:spMkLst>
            <pc:docMk/>
            <pc:sldMk cId="1278736077" sldId="660"/>
            <ac:spMk id="2" creationId="{00000000-0000-0000-0000-000000000000}"/>
          </ac:spMkLst>
        </pc:spChg>
        <pc:graphicFrameChg chg="mod modGraphic">
          <ac:chgData name="Perez Diaz, Karen" userId="17027623-4de6-4c48-9453-394c2c5804f8" providerId="ADAL" clId="{29370469-C559-41E6-B5B3-74A9DA2D409B}" dt="2021-01-27T15:23:28.011" v="202" actId="20577"/>
          <ac:graphicFrameMkLst>
            <pc:docMk/>
            <pc:sldMk cId="1278736077" sldId="660"/>
            <ac:graphicFrameMk id="4" creationId="{00000000-0000-0000-0000-000000000000}"/>
          </ac:graphicFrameMkLst>
        </pc:graphicFrameChg>
      </pc:sldChg>
      <pc:sldChg chg="modSp add del">
        <pc:chgData name="Perez Diaz, Karen" userId="17027623-4de6-4c48-9453-394c2c5804f8" providerId="ADAL" clId="{29370469-C559-41E6-B5B3-74A9DA2D409B}" dt="2021-01-20T20:03:15.972" v="113" actId="2696"/>
        <pc:sldMkLst>
          <pc:docMk/>
          <pc:sldMk cId="2334736935" sldId="661"/>
        </pc:sldMkLst>
        <pc:spChg chg="mod">
          <ac:chgData name="Perez Diaz, Karen" userId="17027623-4de6-4c48-9453-394c2c5804f8" providerId="ADAL" clId="{29370469-C559-41E6-B5B3-74A9DA2D409B}" dt="2021-01-20T19:28:10.661" v="17" actId="20577"/>
          <ac:spMkLst>
            <pc:docMk/>
            <pc:sldMk cId="2334736935" sldId="661"/>
            <ac:spMk id="2" creationId="{00000000-0000-0000-0000-000000000000}"/>
          </ac:spMkLst>
        </pc:spChg>
        <pc:graphicFrameChg chg="mod modGraphic">
          <ac:chgData name="Perez Diaz, Karen" userId="17027623-4de6-4c48-9453-394c2c5804f8" providerId="ADAL" clId="{29370469-C559-41E6-B5B3-74A9DA2D409B}" dt="2021-01-20T19:31:40.582" v="75" actId="798"/>
          <ac:graphicFrameMkLst>
            <pc:docMk/>
            <pc:sldMk cId="2334736935" sldId="661"/>
            <ac:graphicFrameMk id="4" creationId="{00000000-0000-0000-0000-000000000000}"/>
          </ac:graphicFrameMkLst>
        </pc:graphicFrameChg>
      </pc:sldChg>
      <pc:sldChg chg="modSp">
        <pc:chgData name="Perez Diaz, Karen" userId="17027623-4de6-4c48-9453-394c2c5804f8" providerId="ADAL" clId="{29370469-C559-41E6-B5B3-74A9DA2D409B}" dt="2021-01-27T15:21:18.342" v="167" actId="20577"/>
        <pc:sldMkLst>
          <pc:docMk/>
          <pc:sldMk cId="3197154609" sldId="736"/>
        </pc:sldMkLst>
        <pc:spChg chg="mod">
          <ac:chgData name="Perez Diaz, Karen" userId="17027623-4de6-4c48-9453-394c2c5804f8" providerId="ADAL" clId="{29370469-C559-41E6-B5B3-74A9DA2D409B}" dt="2021-01-27T15:21:14.502" v="159" actId="20577"/>
          <ac:spMkLst>
            <pc:docMk/>
            <pc:sldMk cId="3197154609" sldId="736"/>
            <ac:spMk id="2" creationId="{FE1208AD-B065-42AE-BC44-9C064C83105A}"/>
          </ac:spMkLst>
        </pc:spChg>
        <pc:spChg chg="mod">
          <ac:chgData name="Perez Diaz, Karen" userId="17027623-4de6-4c48-9453-394c2c5804f8" providerId="ADAL" clId="{29370469-C559-41E6-B5B3-74A9DA2D409B}" dt="2021-01-27T15:21:18.342" v="167" actId="20577"/>
          <ac:spMkLst>
            <pc:docMk/>
            <pc:sldMk cId="3197154609" sldId="736"/>
            <ac:spMk id="3" creationId="{AF0DA26D-3B67-40C8-9676-A9B16F9FFEA9}"/>
          </ac:spMkLst>
        </pc:spChg>
      </pc:sldChg>
      <pc:sldChg chg="modSp addCm delCm modCm">
        <pc:chgData name="Perez Diaz, Karen" userId="17027623-4de6-4c48-9453-394c2c5804f8" providerId="ADAL" clId="{29370469-C559-41E6-B5B3-74A9DA2D409B}" dt="2021-01-28T16:07:45.461" v="1362" actId="6549"/>
        <pc:sldMkLst>
          <pc:docMk/>
          <pc:sldMk cId="1285900942" sldId="737"/>
        </pc:sldMkLst>
        <pc:spChg chg="mod">
          <ac:chgData name="Perez Diaz, Karen" userId="17027623-4de6-4c48-9453-394c2c5804f8" providerId="ADAL" clId="{29370469-C559-41E6-B5B3-74A9DA2D409B}" dt="2021-01-27T19:35:17.070" v="1239" actId="20577"/>
          <ac:spMkLst>
            <pc:docMk/>
            <pc:sldMk cId="1285900942" sldId="737"/>
            <ac:spMk id="3" creationId="{00000000-0000-0000-0000-000000000000}"/>
          </ac:spMkLst>
        </pc:spChg>
        <pc:spChg chg="mod">
          <ac:chgData name="Perez Diaz, Karen" userId="17027623-4de6-4c48-9453-394c2c5804f8" providerId="ADAL" clId="{29370469-C559-41E6-B5B3-74A9DA2D409B}" dt="2021-01-28T16:06:58.503" v="1361" actId="20577"/>
          <ac:spMkLst>
            <pc:docMk/>
            <pc:sldMk cId="1285900942" sldId="737"/>
            <ac:spMk id="12" creationId="{05745967-7367-4DAD-B714-7E64C7F7BAA4}"/>
          </ac:spMkLst>
        </pc:spChg>
        <pc:spChg chg="mod">
          <ac:chgData name="Perez Diaz, Karen" userId="17027623-4de6-4c48-9453-394c2c5804f8" providerId="ADAL" clId="{29370469-C559-41E6-B5B3-74A9DA2D409B}" dt="2021-01-28T16:07:45.461" v="1362" actId="6549"/>
          <ac:spMkLst>
            <pc:docMk/>
            <pc:sldMk cId="1285900942" sldId="737"/>
            <ac:spMk id="13" creationId="{CB5D12FB-FF24-4F81-84A8-B6855780FA57}"/>
          </ac:spMkLst>
        </pc:spChg>
        <pc:spChg chg="mod">
          <ac:chgData name="Perez Diaz, Karen" userId="17027623-4de6-4c48-9453-394c2c5804f8" providerId="ADAL" clId="{29370469-C559-41E6-B5B3-74A9DA2D409B}" dt="2021-01-27T18:55:26.467" v="721" actId="13926"/>
          <ac:spMkLst>
            <pc:docMk/>
            <pc:sldMk cId="1285900942" sldId="737"/>
            <ac:spMk id="14" creationId="{05745967-7367-4DAD-B714-7E64C7F7BAA4}"/>
          </ac:spMkLst>
        </pc:spChg>
        <pc:spChg chg="mod">
          <ac:chgData name="Perez Diaz, Karen" userId="17027623-4de6-4c48-9453-394c2c5804f8" providerId="ADAL" clId="{29370469-C559-41E6-B5B3-74A9DA2D409B}" dt="2021-01-27T18:55:17.595" v="714" actId="1076"/>
          <ac:spMkLst>
            <pc:docMk/>
            <pc:sldMk cId="1285900942" sldId="737"/>
            <ac:spMk id="15" creationId="{00000000-0000-0000-0000-000000000000}"/>
          </ac:spMkLst>
        </pc:spChg>
      </pc:sldChg>
      <pc:sldChg chg="modSp">
        <pc:chgData name="Perez Diaz, Karen" userId="17027623-4de6-4c48-9453-394c2c5804f8" providerId="ADAL" clId="{29370469-C559-41E6-B5B3-74A9DA2D409B}" dt="2021-01-28T16:05:32.440" v="1338" actId="20577"/>
        <pc:sldMkLst>
          <pc:docMk/>
          <pc:sldMk cId="3216517808" sldId="738"/>
        </pc:sldMkLst>
        <pc:spChg chg="mod">
          <ac:chgData name="Perez Diaz, Karen" userId="17027623-4de6-4c48-9453-394c2c5804f8" providerId="ADAL" clId="{29370469-C559-41E6-B5B3-74A9DA2D409B}" dt="2021-01-28T16:05:22.030" v="1332" actId="20577"/>
          <ac:spMkLst>
            <pc:docMk/>
            <pc:sldMk cId="3216517808" sldId="738"/>
            <ac:spMk id="3" creationId="{00000000-0000-0000-0000-000000000000}"/>
          </ac:spMkLst>
        </pc:spChg>
        <pc:spChg chg="mod">
          <ac:chgData name="Perez Diaz, Karen" userId="17027623-4de6-4c48-9453-394c2c5804f8" providerId="ADAL" clId="{29370469-C559-41E6-B5B3-74A9DA2D409B}" dt="2021-01-27T19:25:49.628" v="1030" actId="115"/>
          <ac:spMkLst>
            <pc:docMk/>
            <pc:sldMk cId="3216517808" sldId="738"/>
            <ac:spMk id="16" creationId="{CB5D12FB-FF24-4F81-84A8-B6855780FA57}"/>
          </ac:spMkLst>
        </pc:spChg>
        <pc:spChg chg="mod">
          <ac:chgData name="Perez Diaz, Karen" userId="17027623-4de6-4c48-9453-394c2c5804f8" providerId="ADAL" clId="{29370469-C559-41E6-B5B3-74A9DA2D409B}" dt="2021-01-28T16:05:32.440" v="1338" actId="20577"/>
          <ac:spMkLst>
            <pc:docMk/>
            <pc:sldMk cId="3216517808" sldId="738"/>
            <ac:spMk id="17" creationId="{05745967-7367-4DAD-B714-7E64C7F7BAA4}"/>
          </ac:spMkLst>
        </pc:spChg>
        <pc:spChg chg="mod">
          <ac:chgData name="Perez Diaz, Karen" userId="17027623-4de6-4c48-9453-394c2c5804f8" providerId="ADAL" clId="{29370469-C559-41E6-B5B3-74A9DA2D409B}" dt="2021-01-27T18:58:23.299" v="844" actId="20577"/>
          <ac:spMkLst>
            <pc:docMk/>
            <pc:sldMk cId="3216517808" sldId="738"/>
            <ac:spMk id="23" creationId="{CB5D12FB-FF24-4F81-84A8-B6855780FA57}"/>
          </ac:spMkLst>
        </pc:spChg>
        <pc:spChg chg="mod">
          <ac:chgData name="Perez Diaz, Karen" userId="17027623-4de6-4c48-9453-394c2c5804f8" providerId="ADAL" clId="{29370469-C559-41E6-B5B3-74A9DA2D409B}" dt="2021-01-28T16:00:38.084" v="1330" actId="20577"/>
          <ac:spMkLst>
            <pc:docMk/>
            <pc:sldMk cId="3216517808" sldId="738"/>
            <ac:spMk id="24" creationId="{05745967-7367-4DAD-B714-7E64C7F7BAA4}"/>
          </ac:spMkLst>
        </pc:spChg>
      </pc:sldChg>
      <pc:sldChg chg="modSp">
        <pc:chgData name="Perez Diaz, Karen" userId="17027623-4de6-4c48-9453-394c2c5804f8" providerId="ADAL" clId="{29370469-C559-41E6-B5B3-74A9DA2D409B}" dt="2021-01-28T16:21:24.402" v="1450" actId="20577"/>
        <pc:sldMkLst>
          <pc:docMk/>
          <pc:sldMk cId="1408628016" sldId="746"/>
        </pc:sldMkLst>
        <pc:spChg chg="mod">
          <ac:chgData name="Perez Diaz, Karen" userId="17027623-4de6-4c48-9453-394c2c5804f8" providerId="ADAL" clId="{29370469-C559-41E6-B5B3-74A9DA2D409B}" dt="2021-01-28T16:21:24.402" v="1450" actId="20577"/>
          <ac:spMkLst>
            <pc:docMk/>
            <pc:sldMk cId="1408628016" sldId="746"/>
            <ac:spMk id="2" creationId="{EEB2DB48-F55E-46AE-9540-691925464E4C}"/>
          </ac:spMkLst>
        </pc:spChg>
        <pc:spChg chg="mod">
          <ac:chgData name="Perez Diaz, Karen" userId="17027623-4de6-4c48-9453-394c2c5804f8" providerId="ADAL" clId="{29370469-C559-41E6-B5B3-74A9DA2D409B}" dt="2021-01-27T15:23:10.093" v="178" actId="20577"/>
          <ac:spMkLst>
            <pc:docMk/>
            <pc:sldMk cId="1408628016" sldId="746"/>
            <ac:spMk id="64" creationId="{FCC3EBC2-9D0D-47EA-B152-51B9C42AFCE8}"/>
          </ac:spMkLst>
        </pc:spChg>
        <pc:spChg chg="mod">
          <ac:chgData name="Perez Diaz, Karen" userId="17027623-4de6-4c48-9453-394c2c5804f8" providerId="ADAL" clId="{29370469-C559-41E6-B5B3-74A9DA2D409B}" dt="2021-01-27T15:21:34.364" v="173" actId="20577"/>
          <ac:spMkLst>
            <pc:docMk/>
            <pc:sldMk cId="1408628016" sldId="746"/>
            <ac:spMk id="68" creationId="{8297072D-5A85-4366-B2F8-CF75DDD93FCF}"/>
          </ac:spMkLst>
        </pc:spChg>
        <pc:spChg chg="mod">
          <ac:chgData name="Perez Diaz, Karen" userId="17027623-4de6-4c48-9453-394c2c5804f8" providerId="ADAL" clId="{29370469-C559-41E6-B5B3-74A9DA2D409B}" dt="2021-01-27T15:23:12.970" v="180" actId="20577"/>
          <ac:spMkLst>
            <pc:docMk/>
            <pc:sldMk cId="1408628016" sldId="746"/>
            <ac:spMk id="74" creationId="{A978716B-E8B2-441F-A5A9-2A2F11559D2E}"/>
          </ac:spMkLst>
        </pc:spChg>
        <pc:spChg chg="mod">
          <ac:chgData name="Perez Diaz, Karen" userId="17027623-4de6-4c48-9453-394c2c5804f8" providerId="ADAL" clId="{29370469-C559-41E6-B5B3-74A9DA2D409B}" dt="2021-01-27T15:23:15.440" v="182" actId="20577"/>
          <ac:spMkLst>
            <pc:docMk/>
            <pc:sldMk cId="1408628016" sldId="746"/>
            <ac:spMk id="75" creationId="{A4E9BBFC-D47C-4A4B-9668-6FDA060324CE}"/>
          </ac:spMkLst>
        </pc:spChg>
        <pc:spChg chg="mod">
          <ac:chgData name="Perez Diaz, Karen" userId="17027623-4de6-4c48-9453-394c2c5804f8" providerId="ADAL" clId="{29370469-C559-41E6-B5B3-74A9DA2D409B}" dt="2021-01-27T16:51:44.586" v="353" actId="20577"/>
          <ac:spMkLst>
            <pc:docMk/>
            <pc:sldMk cId="1408628016" sldId="746"/>
            <ac:spMk id="126" creationId="{069C4E0B-1A1F-45B3-A9F7-03B17BA99E1E}"/>
          </ac:spMkLst>
        </pc:spChg>
      </pc:sldChg>
      <pc:sldChg chg="addSp delSp modSp add">
        <pc:chgData name="Perez Diaz, Karen" userId="17027623-4de6-4c48-9453-394c2c5804f8" providerId="ADAL" clId="{29370469-C559-41E6-B5B3-74A9DA2D409B}" dt="2021-01-28T16:32:50.867" v="1456" actId="478"/>
        <pc:sldMkLst>
          <pc:docMk/>
          <pc:sldMk cId="2148285342" sldId="747"/>
        </pc:sldMkLst>
        <pc:spChg chg="mod">
          <ac:chgData name="Perez Diaz, Karen" userId="17027623-4de6-4c48-9453-394c2c5804f8" providerId="ADAL" clId="{29370469-C559-41E6-B5B3-74A9DA2D409B}" dt="2021-01-28T15:46:18.638" v="1318" actId="1076"/>
          <ac:spMkLst>
            <pc:docMk/>
            <pc:sldMk cId="2148285342" sldId="747"/>
            <ac:spMk id="6" creationId="{46EE6365-81AD-4FCA-A5B9-4F4D0C586289}"/>
          </ac:spMkLst>
        </pc:spChg>
        <pc:spChg chg="mod">
          <ac:chgData name="Perez Diaz, Karen" userId="17027623-4de6-4c48-9453-394c2c5804f8" providerId="ADAL" clId="{29370469-C559-41E6-B5B3-74A9DA2D409B}" dt="2021-01-28T15:45:59.139" v="1315" actId="1076"/>
          <ac:spMkLst>
            <pc:docMk/>
            <pc:sldMk cId="2148285342" sldId="747"/>
            <ac:spMk id="7" creationId="{CBBEE985-DFA9-4335-84E8-9CC49B0EB534}"/>
          </ac:spMkLst>
        </pc:spChg>
        <pc:spChg chg="mod">
          <ac:chgData name="Perez Diaz, Karen" userId="17027623-4de6-4c48-9453-394c2c5804f8" providerId="ADAL" clId="{29370469-C559-41E6-B5B3-74A9DA2D409B}" dt="2021-01-28T15:45:59.139" v="1315" actId="1076"/>
          <ac:spMkLst>
            <pc:docMk/>
            <pc:sldMk cId="2148285342" sldId="747"/>
            <ac:spMk id="8" creationId="{0AEC7480-7499-442D-9B7F-9286FAFB0818}"/>
          </ac:spMkLst>
        </pc:spChg>
        <pc:spChg chg="mod">
          <ac:chgData name="Perez Diaz, Karen" userId="17027623-4de6-4c48-9453-394c2c5804f8" providerId="ADAL" clId="{29370469-C559-41E6-B5B3-74A9DA2D409B}" dt="2021-01-28T15:45:59.139" v="1315" actId="1076"/>
          <ac:spMkLst>
            <pc:docMk/>
            <pc:sldMk cId="2148285342" sldId="747"/>
            <ac:spMk id="9" creationId="{AD31964D-E5E9-49A2-B1C4-DFCAC54C0BAF}"/>
          </ac:spMkLst>
        </pc:spChg>
        <pc:spChg chg="mod">
          <ac:chgData name="Perez Diaz, Karen" userId="17027623-4de6-4c48-9453-394c2c5804f8" providerId="ADAL" clId="{29370469-C559-41E6-B5B3-74A9DA2D409B}" dt="2021-01-28T15:45:59.139" v="1315" actId="1076"/>
          <ac:spMkLst>
            <pc:docMk/>
            <pc:sldMk cId="2148285342" sldId="747"/>
            <ac:spMk id="10" creationId="{EE9C9ED5-ABCE-4FDB-86CF-FDFC75DD74BD}"/>
          </ac:spMkLst>
        </pc:spChg>
        <pc:spChg chg="del mod">
          <ac:chgData name="Perez Diaz, Karen" userId="17027623-4de6-4c48-9453-394c2c5804f8" providerId="ADAL" clId="{29370469-C559-41E6-B5B3-74A9DA2D409B}" dt="2021-01-28T15:45:11.101" v="1309" actId="478"/>
          <ac:spMkLst>
            <pc:docMk/>
            <pc:sldMk cId="2148285342" sldId="747"/>
            <ac:spMk id="11" creationId="{728DB449-6AC5-415B-AD63-6D253B91B5F8}"/>
          </ac:spMkLst>
        </pc:spChg>
        <pc:spChg chg="mod">
          <ac:chgData name="Perez Diaz, Karen" userId="17027623-4de6-4c48-9453-394c2c5804f8" providerId="ADAL" clId="{29370469-C559-41E6-B5B3-74A9DA2D409B}" dt="2021-01-28T16:32:48.662" v="1455" actId="1076"/>
          <ac:spMkLst>
            <pc:docMk/>
            <pc:sldMk cId="2148285342" sldId="747"/>
            <ac:spMk id="17" creationId="{C1BA304E-4D00-4467-9A6C-60D0F96B1272}"/>
          </ac:spMkLst>
        </pc:spChg>
        <pc:spChg chg="mod">
          <ac:chgData name="Perez Diaz, Karen" userId="17027623-4de6-4c48-9453-394c2c5804f8" providerId="ADAL" clId="{29370469-C559-41E6-B5B3-74A9DA2D409B}" dt="2021-01-28T16:32:48.662" v="1455" actId="1076"/>
          <ac:spMkLst>
            <pc:docMk/>
            <pc:sldMk cId="2148285342" sldId="747"/>
            <ac:spMk id="18" creationId="{1FD44B30-90FA-490E-A024-06171BB7986B}"/>
          </ac:spMkLst>
        </pc:spChg>
        <pc:spChg chg="mod">
          <ac:chgData name="Perez Diaz, Karen" userId="17027623-4de6-4c48-9453-394c2c5804f8" providerId="ADAL" clId="{29370469-C559-41E6-B5B3-74A9DA2D409B}" dt="2021-01-28T16:32:48.662" v="1455" actId="1076"/>
          <ac:spMkLst>
            <pc:docMk/>
            <pc:sldMk cId="2148285342" sldId="747"/>
            <ac:spMk id="19" creationId="{2D133A89-F002-41DF-BE8A-052612A491AC}"/>
          </ac:spMkLst>
        </pc:spChg>
        <pc:spChg chg="mod">
          <ac:chgData name="Perez Diaz, Karen" userId="17027623-4de6-4c48-9453-394c2c5804f8" providerId="ADAL" clId="{29370469-C559-41E6-B5B3-74A9DA2D409B}" dt="2021-01-28T15:45:22.979" v="1312" actId="1076"/>
          <ac:spMkLst>
            <pc:docMk/>
            <pc:sldMk cId="2148285342" sldId="747"/>
            <ac:spMk id="32" creationId="{C23CAF40-5081-4672-BB4F-CE5D10092D0A}"/>
          </ac:spMkLst>
        </pc:spChg>
        <pc:spChg chg="del">
          <ac:chgData name="Perez Diaz, Karen" userId="17027623-4de6-4c48-9453-394c2c5804f8" providerId="ADAL" clId="{29370469-C559-41E6-B5B3-74A9DA2D409B}" dt="2021-01-28T16:32:19.169" v="1451" actId="478"/>
          <ac:spMkLst>
            <pc:docMk/>
            <pc:sldMk cId="2148285342" sldId="747"/>
            <ac:spMk id="34" creationId="{382E8A01-BEF3-48DC-8ADF-624A68CB482B}"/>
          </ac:spMkLst>
        </pc:spChg>
        <pc:spChg chg="mod">
          <ac:chgData name="Perez Diaz, Karen" userId="17027623-4de6-4c48-9453-394c2c5804f8" providerId="ADAL" clId="{29370469-C559-41E6-B5B3-74A9DA2D409B}" dt="2021-01-28T16:32:48.662" v="1455" actId="1076"/>
          <ac:spMkLst>
            <pc:docMk/>
            <pc:sldMk cId="2148285342" sldId="747"/>
            <ac:spMk id="35" creationId="{2ACAE726-6B31-4DBD-9287-68684D0D1267}"/>
          </ac:spMkLst>
        </pc:spChg>
        <pc:spChg chg="mod">
          <ac:chgData name="Perez Diaz, Karen" userId="17027623-4de6-4c48-9453-394c2c5804f8" providerId="ADAL" clId="{29370469-C559-41E6-B5B3-74A9DA2D409B}" dt="2021-01-28T15:46:06.506" v="1317" actId="1076"/>
          <ac:spMkLst>
            <pc:docMk/>
            <pc:sldMk cId="2148285342" sldId="747"/>
            <ac:spMk id="36" creationId="{B1C07FB1-E4F7-46B0-9153-B6C0A2878CC2}"/>
          </ac:spMkLst>
        </pc:spChg>
        <pc:spChg chg="mod">
          <ac:chgData name="Perez Diaz, Karen" userId="17027623-4de6-4c48-9453-394c2c5804f8" providerId="ADAL" clId="{29370469-C559-41E6-B5B3-74A9DA2D409B}" dt="2021-01-28T15:45:27.058" v="1314" actId="14100"/>
          <ac:spMkLst>
            <pc:docMk/>
            <pc:sldMk cId="2148285342" sldId="747"/>
            <ac:spMk id="50" creationId="{75207217-91AF-4E8B-A9E8-A32EC790D29A}"/>
          </ac:spMkLst>
        </pc:spChg>
        <pc:spChg chg="add mod">
          <ac:chgData name="Perez Diaz, Karen" userId="17027623-4de6-4c48-9453-394c2c5804f8" providerId="ADAL" clId="{29370469-C559-41E6-B5B3-74A9DA2D409B}" dt="2021-01-28T15:46:27.792" v="1320" actId="1076"/>
          <ac:spMkLst>
            <pc:docMk/>
            <pc:sldMk cId="2148285342" sldId="747"/>
            <ac:spMk id="64" creationId="{03DEE240-39EF-41F8-9E27-4ABF62FE7F2D}"/>
          </ac:spMkLst>
        </pc:spChg>
        <pc:spChg chg="add mod">
          <ac:chgData name="Perez Diaz, Karen" userId="17027623-4de6-4c48-9453-394c2c5804f8" providerId="ADAL" clId="{29370469-C559-41E6-B5B3-74A9DA2D409B}" dt="2021-01-28T15:46:30.061" v="1321" actId="1076"/>
          <ac:spMkLst>
            <pc:docMk/>
            <pc:sldMk cId="2148285342" sldId="747"/>
            <ac:spMk id="66" creationId="{2E77CB89-AD7D-476B-84C4-0C8C350842FA}"/>
          </ac:spMkLst>
        </pc:spChg>
        <pc:spChg chg="add mod">
          <ac:chgData name="Perez Diaz, Karen" userId="17027623-4de6-4c48-9453-394c2c5804f8" providerId="ADAL" clId="{29370469-C559-41E6-B5B3-74A9DA2D409B}" dt="2021-01-28T15:46:35.311" v="1323" actId="1076"/>
          <ac:spMkLst>
            <pc:docMk/>
            <pc:sldMk cId="2148285342" sldId="747"/>
            <ac:spMk id="68" creationId="{03530DAA-43C2-4E61-9B95-37B2D7EF35A1}"/>
          </ac:spMkLst>
        </pc:spChg>
        <pc:spChg chg="add mod">
          <ac:chgData name="Perez Diaz, Karen" userId="17027623-4de6-4c48-9453-394c2c5804f8" providerId="ADAL" clId="{29370469-C559-41E6-B5B3-74A9DA2D409B}" dt="2021-01-28T15:46:27.792" v="1320" actId="1076"/>
          <ac:spMkLst>
            <pc:docMk/>
            <pc:sldMk cId="2148285342" sldId="747"/>
            <ac:spMk id="73" creationId="{6C2F61A3-62C0-4185-8559-7DB924233012}"/>
          </ac:spMkLst>
        </pc:spChg>
        <pc:spChg chg="add mod">
          <ac:chgData name="Perez Diaz, Karen" userId="17027623-4de6-4c48-9453-394c2c5804f8" providerId="ADAL" clId="{29370469-C559-41E6-B5B3-74A9DA2D409B}" dt="2021-01-28T15:46:27.792" v="1320" actId="1076"/>
          <ac:spMkLst>
            <pc:docMk/>
            <pc:sldMk cId="2148285342" sldId="747"/>
            <ac:spMk id="74" creationId="{D8BBD953-2E4B-4E10-9735-7619393A3684}"/>
          </ac:spMkLst>
        </pc:spChg>
        <pc:spChg chg="add mod">
          <ac:chgData name="Perez Diaz, Karen" userId="17027623-4de6-4c48-9453-394c2c5804f8" providerId="ADAL" clId="{29370469-C559-41E6-B5B3-74A9DA2D409B}" dt="2021-01-28T15:46:27.792" v="1320" actId="1076"/>
          <ac:spMkLst>
            <pc:docMk/>
            <pc:sldMk cId="2148285342" sldId="747"/>
            <ac:spMk id="75" creationId="{C92FB33A-C1D7-4991-9099-268A738397E2}"/>
          </ac:spMkLst>
        </pc:spChg>
        <pc:spChg chg="add mod">
          <ac:chgData name="Perez Diaz, Karen" userId="17027623-4de6-4c48-9453-394c2c5804f8" providerId="ADAL" clId="{29370469-C559-41E6-B5B3-74A9DA2D409B}" dt="2021-01-28T15:46:27.792" v="1320" actId="1076"/>
          <ac:spMkLst>
            <pc:docMk/>
            <pc:sldMk cId="2148285342" sldId="747"/>
            <ac:spMk id="76" creationId="{802C1536-C101-4469-A4B9-DCE1820FE2E1}"/>
          </ac:spMkLst>
        </pc:spChg>
        <pc:spChg chg="add mod">
          <ac:chgData name="Perez Diaz, Karen" userId="17027623-4de6-4c48-9453-394c2c5804f8" providerId="ADAL" clId="{29370469-C559-41E6-B5B3-74A9DA2D409B}" dt="2021-01-28T15:46:27.792" v="1320" actId="1076"/>
          <ac:spMkLst>
            <pc:docMk/>
            <pc:sldMk cId="2148285342" sldId="747"/>
            <ac:spMk id="77" creationId="{CB325852-FA61-4DFC-A927-FF15BDFE42A0}"/>
          </ac:spMkLst>
        </pc:spChg>
        <pc:grpChg chg="mod">
          <ac:chgData name="Perez Diaz, Karen" userId="17027623-4de6-4c48-9453-394c2c5804f8" providerId="ADAL" clId="{29370469-C559-41E6-B5B3-74A9DA2D409B}" dt="2021-01-28T16:32:22.369" v="1452" actId="1076"/>
          <ac:grpSpMkLst>
            <pc:docMk/>
            <pc:sldMk cId="2148285342" sldId="747"/>
            <ac:grpSpMk id="21" creationId="{9D6DA8C5-2116-432C-BA28-25EE6D29583D}"/>
          </ac:grpSpMkLst>
        </pc:grpChg>
        <pc:grpChg chg="add mod">
          <ac:chgData name="Perez Diaz, Karen" userId="17027623-4de6-4c48-9453-394c2c5804f8" providerId="ADAL" clId="{29370469-C559-41E6-B5B3-74A9DA2D409B}" dt="2021-01-28T15:46:33.442" v="1322" actId="1076"/>
          <ac:grpSpMkLst>
            <pc:docMk/>
            <pc:sldMk cId="2148285342" sldId="747"/>
            <ac:grpSpMk id="80" creationId="{354067F1-80EC-4900-AFC6-1EDF4546B739}"/>
          </ac:grpSpMkLst>
        </pc:grpChg>
        <pc:cxnChg chg="mod">
          <ac:chgData name="Perez Diaz, Karen" userId="17027623-4de6-4c48-9453-394c2c5804f8" providerId="ADAL" clId="{29370469-C559-41E6-B5B3-74A9DA2D409B}" dt="2021-01-28T15:45:59.139" v="1315" actId="1076"/>
          <ac:cxnSpMkLst>
            <pc:docMk/>
            <pc:sldMk cId="2148285342" sldId="747"/>
            <ac:cxnSpMk id="20" creationId="{348D7C3F-B83C-43A8-9D28-CCC9C4BBB069}"/>
          </ac:cxnSpMkLst>
        </pc:cxnChg>
        <pc:cxnChg chg="mod">
          <ac:chgData name="Perez Diaz, Karen" userId="17027623-4de6-4c48-9453-394c2c5804f8" providerId="ADAL" clId="{29370469-C559-41E6-B5B3-74A9DA2D409B}" dt="2021-01-28T15:45:59.139" v="1315" actId="1076"/>
          <ac:cxnSpMkLst>
            <pc:docMk/>
            <pc:sldMk cId="2148285342" sldId="747"/>
            <ac:cxnSpMk id="27" creationId="{241AE13A-CC4B-4DEF-B58D-790536D65968}"/>
          </ac:cxnSpMkLst>
        </pc:cxnChg>
        <pc:cxnChg chg="mod">
          <ac:chgData name="Perez Diaz, Karen" userId="17027623-4de6-4c48-9453-394c2c5804f8" providerId="ADAL" clId="{29370469-C559-41E6-B5B3-74A9DA2D409B}" dt="2021-01-28T15:45:59.139" v="1315" actId="1076"/>
          <ac:cxnSpMkLst>
            <pc:docMk/>
            <pc:sldMk cId="2148285342" sldId="747"/>
            <ac:cxnSpMk id="31" creationId="{8FEF314A-9932-4F10-8E0C-6B6DF5F71CD9}"/>
          </ac:cxnSpMkLst>
        </pc:cxnChg>
        <pc:cxnChg chg="mod">
          <ac:chgData name="Perez Diaz, Karen" userId="17027623-4de6-4c48-9453-394c2c5804f8" providerId="ADAL" clId="{29370469-C559-41E6-B5B3-74A9DA2D409B}" dt="2021-01-28T16:32:22.369" v="1452" actId="1076"/>
          <ac:cxnSpMkLst>
            <pc:docMk/>
            <pc:sldMk cId="2148285342" sldId="747"/>
            <ac:cxnSpMk id="38" creationId="{7F2776A2-55FA-4901-8D56-61F7EDBF5378}"/>
          </ac:cxnSpMkLst>
        </pc:cxnChg>
        <pc:cxnChg chg="mod">
          <ac:chgData name="Perez Diaz, Karen" userId="17027623-4de6-4c48-9453-394c2c5804f8" providerId="ADAL" clId="{29370469-C559-41E6-B5B3-74A9DA2D409B}" dt="2021-01-28T16:32:22.369" v="1452" actId="1076"/>
          <ac:cxnSpMkLst>
            <pc:docMk/>
            <pc:sldMk cId="2148285342" sldId="747"/>
            <ac:cxnSpMk id="40" creationId="{41BF7768-DCB4-4368-9877-C2C93FF91055}"/>
          </ac:cxnSpMkLst>
        </pc:cxnChg>
        <pc:cxnChg chg="mod">
          <ac:chgData name="Perez Diaz, Karen" userId="17027623-4de6-4c48-9453-394c2c5804f8" providerId="ADAL" clId="{29370469-C559-41E6-B5B3-74A9DA2D409B}" dt="2021-01-28T15:46:42.614" v="1324" actId="1076"/>
          <ac:cxnSpMkLst>
            <pc:docMk/>
            <pc:sldMk cId="2148285342" sldId="747"/>
            <ac:cxnSpMk id="42" creationId="{3D295E1E-2075-4B22-857E-FD03C60F7025}"/>
          </ac:cxnSpMkLst>
        </pc:cxnChg>
        <pc:cxnChg chg="mod">
          <ac:chgData name="Perez Diaz, Karen" userId="17027623-4de6-4c48-9453-394c2c5804f8" providerId="ADAL" clId="{29370469-C559-41E6-B5B3-74A9DA2D409B}" dt="2021-01-28T16:32:22.369" v="1452" actId="1076"/>
          <ac:cxnSpMkLst>
            <pc:docMk/>
            <pc:sldMk cId="2148285342" sldId="747"/>
            <ac:cxnSpMk id="47" creationId="{027D99D2-D61F-43DD-88D9-A764AB3F4C74}"/>
          </ac:cxnSpMkLst>
        </pc:cxnChg>
        <pc:cxnChg chg="mod">
          <ac:chgData name="Perez Diaz, Karen" userId="17027623-4de6-4c48-9453-394c2c5804f8" providerId="ADAL" clId="{29370469-C559-41E6-B5B3-74A9DA2D409B}" dt="2021-01-28T15:46:42.614" v="1324" actId="1076"/>
          <ac:cxnSpMkLst>
            <pc:docMk/>
            <pc:sldMk cId="2148285342" sldId="747"/>
            <ac:cxnSpMk id="49" creationId="{EB1E3269-08BD-4913-A0C9-43F30A56D799}"/>
          </ac:cxnSpMkLst>
        </pc:cxnChg>
        <pc:cxnChg chg="del mod">
          <ac:chgData name="Perez Diaz, Karen" userId="17027623-4de6-4c48-9453-394c2c5804f8" providerId="ADAL" clId="{29370469-C559-41E6-B5B3-74A9DA2D409B}" dt="2021-01-28T16:32:50.867" v="1456" actId="478"/>
          <ac:cxnSpMkLst>
            <pc:docMk/>
            <pc:sldMk cId="2148285342" sldId="747"/>
            <ac:cxnSpMk id="52" creationId="{9A801628-898B-4840-8337-E3F4FCEE2F10}"/>
          </ac:cxnSpMkLst>
        </pc:cxnChg>
        <pc:cxnChg chg="mod">
          <ac:chgData name="Perez Diaz, Karen" userId="17027623-4de6-4c48-9453-394c2c5804f8" providerId="ADAL" clId="{29370469-C559-41E6-B5B3-74A9DA2D409B}" dt="2021-01-28T15:45:59.139" v="1315" actId="1076"/>
          <ac:cxnSpMkLst>
            <pc:docMk/>
            <pc:sldMk cId="2148285342" sldId="747"/>
            <ac:cxnSpMk id="65" creationId="{9F79DEE4-32EB-4954-BB88-47EAFD90F0F2}"/>
          </ac:cxnSpMkLst>
        </pc:cxnChg>
        <pc:cxnChg chg="mod">
          <ac:chgData name="Perez Diaz, Karen" userId="17027623-4de6-4c48-9453-394c2c5804f8" providerId="ADAL" clId="{29370469-C559-41E6-B5B3-74A9DA2D409B}" dt="2021-01-28T15:46:42.614" v="1324" actId="1076"/>
          <ac:cxnSpMkLst>
            <pc:docMk/>
            <pc:sldMk cId="2148285342" sldId="747"/>
            <ac:cxnSpMk id="67" creationId="{BCC689C9-66DC-4DAB-980A-751E46C8B338}"/>
          </ac:cxnSpMkLst>
        </pc:cxnChg>
        <pc:cxnChg chg="add mod">
          <ac:chgData name="Perez Diaz, Karen" userId="17027623-4de6-4c48-9453-394c2c5804f8" providerId="ADAL" clId="{29370469-C559-41E6-B5B3-74A9DA2D409B}" dt="2021-01-28T15:46:27.792" v="1320" actId="1076"/>
          <ac:cxnSpMkLst>
            <pc:docMk/>
            <pc:sldMk cId="2148285342" sldId="747"/>
            <ac:cxnSpMk id="70" creationId="{B9DD528B-FE20-49A9-BB03-5E2675247ED8}"/>
          </ac:cxnSpMkLst>
        </pc:cxnChg>
        <pc:cxnChg chg="add mod">
          <ac:chgData name="Perez Diaz, Karen" userId="17027623-4de6-4c48-9453-394c2c5804f8" providerId="ADAL" clId="{29370469-C559-41E6-B5B3-74A9DA2D409B}" dt="2021-01-28T15:46:35.311" v="1323" actId="1076"/>
          <ac:cxnSpMkLst>
            <pc:docMk/>
            <pc:sldMk cId="2148285342" sldId="747"/>
            <ac:cxnSpMk id="71" creationId="{DCF24850-4506-4A35-9EEF-2A28B843F6A5}"/>
          </ac:cxnSpMkLst>
        </pc:cxnChg>
        <pc:cxnChg chg="add mod">
          <ac:chgData name="Perez Diaz, Karen" userId="17027623-4de6-4c48-9453-394c2c5804f8" providerId="ADAL" clId="{29370469-C559-41E6-B5B3-74A9DA2D409B}" dt="2021-01-28T15:46:27.792" v="1320" actId="1076"/>
          <ac:cxnSpMkLst>
            <pc:docMk/>
            <pc:sldMk cId="2148285342" sldId="747"/>
            <ac:cxnSpMk id="72" creationId="{505244B7-E0A0-41D4-99C3-A8AE22E49AB4}"/>
          </ac:cxnSpMkLst>
        </pc:cxnChg>
        <pc:cxnChg chg="add mod">
          <ac:chgData name="Perez Diaz, Karen" userId="17027623-4de6-4c48-9453-394c2c5804f8" providerId="ADAL" clId="{29370469-C559-41E6-B5B3-74A9DA2D409B}" dt="2021-01-28T15:46:27.792" v="1320" actId="1076"/>
          <ac:cxnSpMkLst>
            <pc:docMk/>
            <pc:sldMk cId="2148285342" sldId="747"/>
            <ac:cxnSpMk id="78" creationId="{F8ACD14F-4738-4D36-81B6-92492D3EE79A}"/>
          </ac:cxnSpMkLst>
        </pc:cxnChg>
        <pc:cxnChg chg="add mod">
          <ac:chgData name="Perez Diaz, Karen" userId="17027623-4de6-4c48-9453-394c2c5804f8" providerId="ADAL" clId="{29370469-C559-41E6-B5B3-74A9DA2D409B}" dt="2021-01-28T15:46:30.061" v="1321" actId="1076"/>
          <ac:cxnSpMkLst>
            <pc:docMk/>
            <pc:sldMk cId="2148285342" sldId="747"/>
            <ac:cxnSpMk id="79" creationId="{173153CA-015E-4471-AB91-B3572B3C6A31}"/>
          </ac:cxnSpMkLst>
        </pc:cxnChg>
        <pc:cxnChg chg="mod">
          <ac:chgData name="Perez Diaz, Karen" userId="17027623-4de6-4c48-9453-394c2c5804f8" providerId="ADAL" clId="{29370469-C559-41E6-B5B3-74A9DA2D409B}" dt="2021-01-28T16:32:48.662" v="1455" actId="1076"/>
          <ac:cxnSpMkLst>
            <pc:docMk/>
            <pc:sldMk cId="2148285342" sldId="747"/>
            <ac:cxnSpMk id="170" creationId="{22C87227-5D49-40A2-A3BC-8592EC3CD579}"/>
          </ac:cxnSpMkLst>
        </pc:cxnChg>
        <pc:cxnChg chg="del mod">
          <ac:chgData name="Perez Diaz, Karen" userId="17027623-4de6-4c48-9453-394c2c5804f8" providerId="ADAL" clId="{29370469-C559-41E6-B5B3-74A9DA2D409B}" dt="2021-01-28T15:45:13.647" v="1310" actId="478"/>
          <ac:cxnSpMkLst>
            <pc:docMk/>
            <pc:sldMk cId="2148285342" sldId="747"/>
            <ac:cxnSpMk id="203" creationId="{C8A4CE5A-2494-44D7-B7F2-6D9571F3E921}"/>
          </ac:cxnSpMkLst>
        </pc:cxnChg>
      </pc:sldChg>
      <pc:sldChg chg="add">
        <pc:chgData name="Perez Diaz, Karen" userId="17027623-4de6-4c48-9453-394c2c5804f8" providerId="ADAL" clId="{29370469-C559-41E6-B5B3-74A9DA2D409B}" dt="2021-01-28T16:20:48.269" v="1381"/>
        <pc:sldMkLst>
          <pc:docMk/>
          <pc:sldMk cId="1470794818" sldId="748"/>
        </pc:sldMkLst>
      </pc:sldChg>
      <pc:sldChg chg="addSp delSp modSp add">
        <pc:chgData name="Perez Diaz, Karen" userId="17027623-4de6-4c48-9453-394c2c5804f8" providerId="ADAL" clId="{29370469-C559-41E6-B5B3-74A9DA2D409B}" dt="2021-01-28T16:51:54.056" v="1757" actId="1076"/>
        <pc:sldMkLst>
          <pc:docMk/>
          <pc:sldMk cId="3170628248" sldId="749"/>
        </pc:sldMkLst>
        <pc:spChg chg="mod">
          <ac:chgData name="Perez Diaz, Karen" userId="17027623-4de6-4c48-9453-394c2c5804f8" providerId="ADAL" clId="{29370469-C559-41E6-B5B3-74A9DA2D409B}" dt="2021-01-28T16:51:54.056" v="1757" actId="1076"/>
          <ac:spMkLst>
            <pc:docMk/>
            <pc:sldMk cId="3170628248" sldId="749"/>
            <ac:spMk id="6" creationId="{46EE6365-81AD-4FCA-A5B9-4F4D0C586289}"/>
          </ac:spMkLst>
        </pc:spChg>
        <pc:spChg chg="mod">
          <ac:chgData name="Perez Diaz, Karen" userId="17027623-4de6-4c48-9453-394c2c5804f8" providerId="ADAL" clId="{29370469-C559-41E6-B5B3-74A9DA2D409B}" dt="2021-01-28T16:51:54.056" v="1757" actId="1076"/>
          <ac:spMkLst>
            <pc:docMk/>
            <pc:sldMk cId="3170628248" sldId="749"/>
            <ac:spMk id="7" creationId="{CBBEE985-DFA9-4335-84E8-9CC49B0EB534}"/>
          </ac:spMkLst>
        </pc:spChg>
        <pc:spChg chg="mod">
          <ac:chgData name="Perez Diaz, Karen" userId="17027623-4de6-4c48-9453-394c2c5804f8" providerId="ADAL" clId="{29370469-C559-41E6-B5B3-74A9DA2D409B}" dt="2021-01-28T16:51:54.056" v="1757" actId="1076"/>
          <ac:spMkLst>
            <pc:docMk/>
            <pc:sldMk cId="3170628248" sldId="749"/>
            <ac:spMk id="8" creationId="{0AEC7480-7499-442D-9B7F-9286FAFB0818}"/>
          </ac:spMkLst>
        </pc:spChg>
        <pc:spChg chg="mod">
          <ac:chgData name="Perez Diaz, Karen" userId="17027623-4de6-4c48-9453-394c2c5804f8" providerId="ADAL" clId="{29370469-C559-41E6-B5B3-74A9DA2D409B}" dt="2021-01-28T16:51:54.056" v="1757" actId="1076"/>
          <ac:spMkLst>
            <pc:docMk/>
            <pc:sldMk cId="3170628248" sldId="749"/>
            <ac:spMk id="9" creationId="{AD31964D-E5E9-49A2-B1C4-DFCAC54C0BAF}"/>
          </ac:spMkLst>
        </pc:spChg>
        <pc:spChg chg="mod">
          <ac:chgData name="Perez Diaz, Karen" userId="17027623-4de6-4c48-9453-394c2c5804f8" providerId="ADAL" clId="{29370469-C559-41E6-B5B3-74A9DA2D409B}" dt="2021-01-28T16:51:54.056" v="1757" actId="1076"/>
          <ac:spMkLst>
            <pc:docMk/>
            <pc:sldMk cId="3170628248" sldId="749"/>
            <ac:spMk id="10" creationId="{EE9C9ED5-ABCE-4FDB-86CF-FDFC75DD74BD}"/>
          </ac:spMkLst>
        </pc:spChg>
        <pc:spChg chg="del">
          <ac:chgData name="Perez Diaz, Karen" userId="17027623-4de6-4c48-9453-394c2c5804f8" providerId="ADAL" clId="{29370469-C559-41E6-B5B3-74A9DA2D409B}" dt="2021-01-28T16:34:47.849" v="1459" actId="478"/>
          <ac:spMkLst>
            <pc:docMk/>
            <pc:sldMk cId="3170628248" sldId="749"/>
            <ac:spMk id="11" creationId="{728DB449-6AC5-415B-AD63-6D253B91B5F8}"/>
          </ac:spMkLst>
        </pc:spChg>
        <pc:spChg chg="mod">
          <ac:chgData name="Perez Diaz, Karen" userId="17027623-4de6-4c48-9453-394c2c5804f8" providerId="ADAL" clId="{29370469-C559-41E6-B5B3-74A9DA2D409B}" dt="2021-01-28T16:51:54.056" v="1757" actId="1076"/>
          <ac:spMkLst>
            <pc:docMk/>
            <pc:sldMk cId="3170628248" sldId="749"/>
            <ac:spMk id="12" creationId="{FE80D894-D049-4249-89C3-2CB429A7EF23}"/>
          </ac:spMkLst>
        </pc:spChg>
        <pc:spChg chg="mod">
          <ac:chgData name="Perez Diaz, Karen" userId="17027623-4de6-4c48-9453-394c2c5804f8" providerId="ADAL" clId="{29370469-C559-41E6-B5B3-74A9DA2D409B}" dt="2021-01-28T16:51:54.056" v="1757" actId="1076"/>
          <ac:spMkLst>
            <pc:docMk/>
            <pc:sldMk cId="3170628248" sldId="749"/>
            <ac:spMk id="14" creationId="{F6B3E33B-279A-4B57-A0C7-AFD4CB2BA78F}"/>
          </ac:spMkLst>
        </pc:spChg>
        <pc:spChg chg="mod">
          <ac:chgData name="Perez Diaz, Karen" userId="17027623-4de6-4c48-9453-394c2c5804f8" providerId="ADAL" clId="{29370469-C559-41E6-B5B3-74A9DA2D409B}" dt="2021-01-28T16:51:54.056" v="1757" actId="1076"/>
          <ac:spMkLst>
            <pc:docMk/>
            <pc:sldMk cId="3170628248" sldId="749"/>
            <ac:spMk id="36" creationId="{B1C07FB1-E4F7-46B0-9153-B6C0A2878CC2}"/>
          </ac:spMkLst>
        </pc:spChg>
        <pc:spChg chg="add mod">
          <ac:chgData name="Perez Diaz, Karen" userId="17027623-4de6-4c48-9453-394c2c5804f8" providerId="ADAL" clId="{29370469-C559-41E6-B5B3-74A9DA2D409B}" dt="2021-01-28T16:51:46.689" v="1756" actId="1076"/>
          <ac:spMkLst>
            <pc:docMk/>
            <pc:sldMk cId="3170628248" sldId="749"/>
            <ac:spMk id="105" creationId="{BEC36B5A-7EB2-43A0-BD86-B837DED8DE95}"/>
          </ac:spMkLst>
        </pc:spChg>
        <pc:spChg chg="add mod">
          <ac:chgData name="Perez Diaz, Karen" userId="17027623-4de6-4c48-9453-394c2c5804f8" providerId="ADAL" clId="{29370469-C559-41E6-B5B3-74A9DA2D409B}" dt="2021-01-28T16:51:46.689" v="1756" actId="1076"/>
          <ac:spMkLst>
            <pc:docMk/>
            <pc:sldMk cId="3170628248" sldId="749"/>
            <ac:spMk id="106" creationId="{6D6ECF35-C32B-4213-B8CE-3A997B9FF481}"/>
          </ac:spMkLst>
        </pc:spChg>
        <pc:spChg chg="add mod">
          <ac:chgData name="Perez Diaz, Karen" userId="17027623-4de6-4c48-9453-394c2c5804f8" providerId="ADAL" clId="{29370469-C559-41E6-B5B3-74A9DA2D409B}" dt="2021-01-28T16:51:46.689" v="1756" actId="1076"/>
          <ac:spMkLst>
            <pc:docMk/>
            <pc:sldMk cId="3170628248" sldId="749"/>
            <ac:spMk id="107" creationId="{440FFB9C-94D4-4708-A9DC-34AAC6B046DA}"/>
          </ac:spMkLst>
        </pc:spChg>
        <pc:spChg chg="add mod">
          <ac:chgData name="Perez Diaz, Karen" userId="17027623-4de6-4c48-9453-394c2c5804f8" providerId="ADAL" clId="{29370469-C559-41E6-B5B3-74A9DA2D409B}" dt="2021-01-28T16:51:46.689" v="1756" actId="1076"/>
          <ac:spMkLst>
            <pc:docMk/>
            <pc:sldMk cId="3170628248" sldId="749"/>
            <ac:spMk id="111" creationId="{A063BFA1-D944-4ED3-95B7-C1617A7EA0F9}"/>
          </ac:spMkLst>
        </pc:spChg>
        <pc:spChg chg="add mod">
          <ac:chgData name="Perez Diaz, Karen" userId="17027623-4de6-4c48-9453-394c2c5804f8" providerId="ADAL" clId="{29370469-C559-41E6-B5B3-74A9DA2D409B}" dt="2021-01-28T16:51:46.689" v="1756" actId="1076"/>
          <ac:spMkLst>
            <pc:docMk/>
            <pc:sldMk cId="3170628248" sldId="749"/>
            <ac:spMk id="112" creationId="{ED2670D7-5235-4D4A-869B-5068651CDF74}"/>
          </ac:spMkLst>
        </pc:spChg>
        <pc:spChg chg="add mod">
          <ac:chgData name="Perez Diaz, Karen" userId="17027623-4de6-4c48-9453-394c2c5804f8" providerId="ADAL" clId="{29370469-C559-41E6-B5B3-74A9DA2D409B}" dt="2021-01-28T16:51:46.689" v="1756" actId="1076"/>
          <ac:spMkLst>
            <pc:docMk/>
            <pc:sldMk cId="3170628248" sldId="749"/>
            <ac:spMk id="113" creationId="{CAED5ECA-DF73-4AAE-B74E-FC777DE1010E}"/>
          </ac:spMkLst>
        </pc:spChg>
        <pc:spChg chg="add mod">
          <ac:chgData name="Perez Diaz, Karen" userId="17027623-4de6-4c48-9453-394c2c5804f8" providerId="ADAL" clId="{29370469-C559-41E6-B5B3-74A9DA2D409B}" dt="2021-01-28T16:51:46.689" v="1756" actId="1076"/>
          <ac:spMkLst>
            <pc:docMk/>
            <pc:sldMk cId="3170628248" sldId="749"/>
            <ac:spMk id="114" creationId="{E764AE2D-0FD2-4A7A-97D3-2191B1E4982F}"/>
          </ac:spMkLst>
        </pc:spChg>
        <pc:spChg chg="add mod">
          <ac:chgData name="Perez Diaz, Karen" userId="17027623-4de6-4c48-9453-394c2c5804f8" providerId="ADAL" clId="{29370469-C559-41E6-B5B3-74A9DA2D409B}" dt="2021-01-28T16:51:46.689" v="1756" actId="1076"/>
          <ac:spMkLst>
            <pc:docMk/>
            <pc:sldMk cId="3170628248" sldId="749"/>
            <ac:spMk id="115" creationId="{735CAD3E-3CFB-4A7D-9DC0-8715BEBCB5C7}"/>
          </ac:spMkLst>
        </pc:spChg>
        <pc:grpChg chg="add mod">
          <ac:chgData name="Perez Diaz, Karen" userId="17027623-4de6-4c48-9453-394c2c5804f8" providerId="ADAL" clId="{29370469-C559-41E6-B5B3-74A9DA2D409B}" dt="2021-01-28T16:51:46.689" v="1756" actId="1076"/>
          <ac:grpSpMkLst>
            <pc:docMk/>
            <pc:sldMk cId="3170628248" sldId="749"/>
            <ac:grpSpMk id="118" creationId="{6B36BE72-7F9C-4D83-8F46-F115176D5DEE}"/>
          </ac:grpSpMkLst>
        </pc:grpChg>
        <pc:grpChg chg="mod">
          <ac:chgData name="Perez Diaz, Karen" userId="17027623-4de6-4c48-9453-394c2c5804f8" providerId="ADAL" clId="{29370469-C559-41E6-B5B3-74A9DA2D409B}" dt="2021-01-28T16:51:54.056" v="1757" actId="1076"/>
          <ac:grpSpMkLst>
            <pc:docMk/>
            <pc:sldMk cId="3170628248" sldId="749"/>
            <ac:grpSpMk id="217" creationId="{9E5C4412-7EC4-487F-854E-0A306D3FA7D8}"/>
          </ac:grpSpMkLst>
        </pc:grpChg>
        <pc:cxnChg chg="mod">
          <ac:chgData name="Perez Diaz, Karen" userId="17027623-4de6-4c48-9453-394c2c5804f8" providerId="ADAL" clId="{29370469-C559-41E6-B5B3-74A9DA2D409B}" dt="2021-01-28T16:51:54.056" v="1757" actId="1076"/>
          <ac:cxnSpMkLst>
            <pc:docMk/>
            <pc:sldMk cId="3170628248" sldId="749"/>
            <ac:cxnSpMk id="20" creationId="{348D7C3F-B83C-43A8-9D28-CCC9C4BBB069}"/>
          </ac:cxnSpMkLst>
        </pc:cxnChg>
        <pc:cxnChg chg="mod">
          <ac:chgData name="Perez Diaz, Karen" userId="17027623-4de6-4c48-9453-394c2c5804f8" providerId="ADAL" clId="{29370469-C559-41E6-B5B3-74A9DA2D409B}" dt="2021-01-28T16:51:54.056" v="1757" actId="1076"/>
          <ac:cxnSpMkLst>
            <pc:docMk/>
            <pc:sldMk cId="3170628248" sldId="749"/>
            <ac:cxnSpMk id="25" creationId="{0FD92F1F-404B-4B75-922F-DC7CBDD99712}"/>
          </ac:cxnSpMkLst>
        </pc:cxnChg>
        <pc:cxnChg chg="mod">
          <ac:chgData name="Perez Diaz, Karen" userId="17027623-4de6-4c48-9453-394c2c5804f8" providerId="ADAL" clId="{29370469-C559-41E6-B5B3-74A9DA2D409B}" dt="2021-01-28T16:51:54.056" v="1757" actId="1076"/>
          <ac:cxnSpMkLst>
            <pc:docMk/>
            <pc:sldMk cId="3170628248" sldId="749"/>
            <ac:cxnSpMk id="27" creationId="{241AE13A-CC4B-4DEF-B58D-790536D65968}"/>
          </ac:cxnSpMkLst>
        </pc:cxnChg>
        <pc:cxnChg chg="mod">
          <ac:chgData name="Perez Diaz, Karen" userId="17027623-4de6-4c48-9453-394c2c5804f8" providerId="ADAL" clId="{29370469-C559-41E6-B5B3-74A9DA2D409B}" dt="2021-01-28T16:51:54.056" v="1757" actId="1076"/>
          <ac:cxnSpMkLst>
            <pc:docMk/>
            <pc:sldMk cId="3170628248" sldId="749"/>
            <ac:cxnSpMk id="31" creationId="{8FEF314A-9932-4F10-8E0C-6B6DF5F71CD9}"/>
          </ac:cxnSpMkLst>
        </pc:cxnChg>
        <pc:cxnChg chg="mod">
          <ac:chgData name="Perez Diaz, Karen" userId="17027623-4de6-4c48-9453-394c2c5804f8" providerId="ADAL" clId="{29370469-C559-41E6-B5B3-74A9DA2D409B}" dt="2021-01-28T16:51:32.413" v="1754" actId="1076"/>
          <ac:cxnSpMkLst>
            <pc:docMk/>
            <pc:sldMk cId="3170628248" sldId="749"/>
            <ac:cxnSpMk id="40" creationId="{41BF7768-DCB4-4368-9877-C2C93FF91055}"/>
          </ac:cxnSpMkLst>
        </pc:cxnChg>
        <pc:cxnChg chg="mod">
          <ac:chgData name="Perez Diaz, Karen" userId="17027623-4de6-4c48-9453-394c2c5804f8" providerId="ADAL" clId="{29370469-C559-41E6-B5B3-74A9DA2D409B}" dt="2021-01-28T16:51:32.413" v="1754" actId="1076"/>
          <ac:cxnSpMkLst>
            <pc:docMk/>
            <pc:sldMk cId="3170628248" sldId="749"/>
            <ac:cxnSpMk id="42" creationId="{3D295E1E-2075-4B22-857E-FD03C60F7025}"/>
          </ac:cxnSpMkLst>
        </pc:cxnChg>
        <pc:cxnChg chg="mod">
          <ac:chgData name="Perez Diaz, Karen" userId="17027623-4de6-4c48-9453-394c2c5804f8" providerId="ADAL" clId="{29370469-C559-41E6-B5B3-74A9DA2D409B}" dt="2021-01-28T16:51:32.413" v="1754" actId="1076"/>
          <ac:cxnSpMkLst>
            <pc:docMk/>
            <pc:sldMk cId="3170628248" sldId="749"/>
            <ac:cxnSpMk id="49" creationId="{EB1E3269-08BD-4913-A0C9-43F30A56D799}"/>
          </ac:cxnSpMkLst>
        </pc:cxnChg>
        <pc:cxnChg chg="mod">
          <ac:chgData name="Perez Diaz, Karen" userId="17027623-4de6-4c48-9453-394c2c5804f8" providerId="ADAL" clId="{29370469-C559-41E6-B5B3-74A9DA2D409B}" dt="2021-01-28T16:51:33.690" v="1755" actId="1076"/>
          <ac:cxnSpMkLst>
            <pc:docMk/>
            <pc:sldMk cId="3170628248" sldId="749"/>
            <ac:cxnSpMk id="58" creationId="{61486903-F490-4189-A8DE-CBD91F459B18}"/>
          </ac:cxnSpMkLst>
        </pc:cxnChg>
        <pc:cxnChg chg="mod">
          <ac:chgData name="Perez Diaz, Karen" userId="17027623-4de6-4c48-9453-394c2c5804f8" providerId="ADAL" clId="{29370469-C559-41E6-B5B3-74A9DA2D409B}" dt="2021-01-28T16:51:54.056" v="1757" actId="1076"/>
          <ac:cxnSpMkLst>
            <pc:docMk/>
            <pc:sldMk cId="3170628248" sldId="749"/>
            <ac:cxnSpMk id="65" creationId="{9F79DEE4-32EB-4954-BB88-47EAFD90F0F2}"/>
          </ac:cxnSpMkLst>
        </pc:cxnChg>
        <pc:cxnChg chg="mod">
          <ac:chgData name="Perez Diaz, Karen" userId="17027623-4de6-4c48-9453-394c2c5804f8" providerId="ADAL" clId="{29370469-C559-41E6-B5B3-74A9DA2D409B}" dt="2021-01-28T16:51:32.413" v="1754" actId="1076"/>
          <ac:cxnSpMkLst>
            <pc:docMk/>
            <pc:sldMk cId="3170628248" sldId="749"/>
            <ac:cxnSpMk id="67" creationId="{BCC689C9-66DC-4DAB-980A-751E46C8B338}"/>
          </ac:cxnSpMkLst>
        </pc:cxnChg>
        <pc:cxnChg chg="add mod">
          <ac:chgData name="Perez Diaz, Karen" userId="17027623-4de6-4c48-9453-394c2c5804f8" providerId="ADAL" clId="{29370469-C559-41E6-B5B3-74A9DA2D409B}" dt="2021-01-28T16:51:46.689" v="1756" actId="1076"/>
          <ac:cxnSpMkLst>
            <pc:docMk/>
            <pc:sldMk cId="3170628248" sldId="749"/>
            <ac:cxnSpMk id="108" creationId="{4B2ADA09-0B27-4A10-8143-73FC014C2D4D}"/>
          </ac:cxnSpMkLst>
        </pc:cxnChg>
        <pc:cxnChg chg="add mod">
          <ac:chgData name="Perez Diaz, Karen" userId="17027623-4de6-4c48-9453-394c2c5804f8" providerId="ADAL" clId="{29370469-C559-41E6-B5B3-74A9DA2D409B}" dt="2021-01-28T16:51:46.689" v="1756" actId="1076"/>
          <ac:cxnSpMkLst>
            <pc:docMk/>
            <pc:sldMk cId="3170628248" sldId="749"/>
            <ac:cxnSpMk id="109" creationId="{7BCF6360-AB3F-429E-B268-C804BE60EE19}"/>
          </ac:cxnSpMkLst>
        </pc:cxnChg>
        <pc:cxnChg chg="add mod">
          <ac:chgData name="Perez Diaz, Karen" userId="17027623-4de6-4c48-9453-394c2c5804f8" providerId="ADAL" clId="{29370469-C559-41E6-B5B3-74A9DA2D409B}" dt="2021-01-28T16:51:46.689" v="1756" actId="1076"/>
          <ac:cxnSpMkLst>
            <pc:docMk/>
            <pc:sldMk cId="3170628248" sldId="749"/>
            <ac:cxnSpMk id="110" creationId="{D42AA51F-4DA3-4364-AA2A-F7FD698C624E}"/>
          </ac:cxnSpMkLst>
        </pc:cxnChg>
        <pc:cxnChg chg="add mod">
          <ac:chgData name="Perez Diaz, Karen" userId="17027623-4de6-4c48-9453-394c2c5804f8" providerId="ADAL" clId="{29370469-C559-41E6-B5B3-74A9DA2D409B}" dt="2021-01-28T16:51:46.689" v="1756" actId="1076"/>
          <ac:cxnSpMkLst>
            <pc:docMk/>
            <pc:sldMk cId="3170628248" sldId="749"/>
            <ac:cxnSpMk id="116" creationId="{52CF43AC-B38B-4911-B10C-6B5824EEC3AC}"/>
          </ac:cxnSpMkLst>
        </pc:cxnChg>
        <pc:cxnChg chg="add mod">
          <ac:chgData name="Perez Diaz, Karen" userId="17027623-4de6-4c48-9453-394c2c5804f8" providerId="ADAL" clId="{29370469-C559-41E6-B5B3-74A9DA2D409B}" dt="2021-01-28T16:51:46.689" v="1756" actId="1076"/>
          <ac:cxnSpMkLst>
            <pc:docMk/>
            <pc:sldMk cId="3170628248" sldId="749"/>
            <ac:cxnSpMk id="117" creationId="{2C2FB829-5D35-4F54-B2F6-CDFE327A848C}"/>
          </ac:cxnSpMkLst>
        </pc:cxnChg>
        <pc:cxnChg chg="del mod">
          <ac:chgData name="Perez Diaz, Karen" userId="17027623-4de6-4c48-9453-394c2c5804f8" providerId="ADAL" clId="{29370469-C559-41E6-B5B3-74A9DA2D409B}" dt="2021-01-28T16:34:50.470" v="1460" actId="478"/>
          <ac:cxnSpMkLst>
            <pc:docMk/>
            <pc:sldMk cId="3170628248" sldId="749"/>
            <ac:cxnSpMk id="203" creationId="{C8A4CE5A-2494-44D7-B7F2-6D9571F3E921}"/>
          </ac:cxnSpMkLst>
        </pc:cxnChg>
      </pc:sldChg>
      <pc:sldChg chg="addSp modSp add">
        <pc:chgData name="Perez Diaz, Karen" userId="17027623-4de6-4c48-9453-394c2c5804f8" providerId="ADAL" clId="{29370469-C559-41E6-B5B3-74A9DA2D409B}" dt="2021-01-28T16:59:34.084" v="1761"/>
        <pc:sldMkLst>
          <pc:docMk/>
          <pc:sldMk cId="3266835802" sldId="750"/>
        </pc:sldMkLst>
        <pc:spChg chg="mod">
          <ac:chgData name="Perez Diaz, Karen" userId="17027623-4de6-4c48-9453-394c2c5804f8" providerId="ADAL" clId="{29370469-C559-41E6-B5B3-74A9DA2D409B}" dt="2021-01-28T16:58:40.510" v="1759" actId="1076"/>
          <ac:spMkLst>
            <pc:docMk/>
            <pc:sldMk cId="3266835802" sldId="750"/>
            <ac:spMk id="6" creationId="{46EE6365-81AD-4FCA-A5B9-4F4D0C586289}"/>
          </ac:spMkLst>
        </pc:spChg>
        <pc:spChg chg="mod">
          <ac:chgData name="Perez Diaz, Karen" userId="17027623-4de6-4c48-9453-394c2c5804f8" providerId="ADAL" clId="{29370469-C559-41E6-B5B3-74A9DA2D409B}" dt="2021-01-28T16:58:40.510" v="1759" actId="1076"/>
          <ac:spMkLst>
            <pc:docMk/>
            <pc:sldMk cId="3266835802" sldId="750"/>
            <ac:spMk id="7" creationId="{CBBEE985-DFA9-4335-84E8-9CC49B0EB534}"/>
          </ac:spMkLst>
        </pc:spChg>
        <pc:spChg chg="mod">
          <ac:chgData name="Perez Diaz, Karen" userId="17027623-4de6-4c48-9453-394c2c5804f8" providerId="ADAL" clId="{29370469-C559-41E6-B5B3-74A9DA2D409B}" dt="2021-01-28T16:58:40.510" v="1759" actId="1076"/>
          <ac:spMkLst>
            <pc:docMk/>
            <pc:sldMk cId="3266835802" sldId="750"/>
            <ac:spMk id="8" creationId="{0AEC7480-7499-442D-9B7F-9286FAFB0818}"/>
          </ac:spMkLst>
        </pc:spChg>
        <pc:spChg chg="mod">
          <ac:chgData name="Perez Diaz, Karen" userId="17027623-4de6-4c48-9453-394c2c5804f8" providerId="ADAL" clId="{29370469-C559-41E6-B5B3-74A9DA2D409B}" dt="2021-01-28T16:58:40.510" v="1759" actId="1076"/>
          <ac:spMkLst>
            <pc:docMk/>
            <pc:sldMk cId="3266835802" sldId="750"/>
            <ac:spMk id="9" creationId="{AD31964D-E5E9-49A2-B1C4-DFCAC54C0BAF}"/>
          </ac:spMkLst>
        </pc:spChg>
        <pc:spChg chg="mod">
          <ac:chgData name="Perez Diaz, Karen" userId="17027623-4de6-4c48-9453-394c2c5804f8" providerId="ADAL" clId="{29370469-C559-41E6-B5B3-74A9DA2D409B}" dt="2021-01-28T16:58:40.510" v="1759" actId="1076"/>
          <ac:spMkLst>
            <pc:docMk/>
            <pc:sldMk cId="3266835802" sldId="750"/>
            <ac:spMk id="10" creationId="{EE9C9ED5-ABCE-4FDB-86CF-FDFC75DD74BD}"/>
          </ac:spMkLst>
        </pc:spChg>
        <pc:spChg chg="mod">
          <ac:chgData name="Perez Diaz, Karen" userId="17027623-4de6-4c48-9453-394c2c5804f8" providerId="ADAL" clId="{29370469-C559-41E6-B5B3-74A9DA2D409B}" dt="2021-01-28T16:58:40.510" v="1759" actId="1076"/>
          <ac:spMkLst>
            <pc:docMk/>
            <pc:sldMk cId="3266835802" sldId="750"/>
            <ac:spMk id="12" creationId="{FE80D894-D049-4249-89C3-2CB429A7EF23}"/>
          </ac:spMkLst>
        </pc:spChg>
        <pc:spChg chg="mod">
          <ac:chgData name="Perez Diaz, Karen" userId="17027623-4de6-4c48-9453-394c2c5804f8" providerId="ADAL" clId="{29370469-C559-41E6-B5B3-74A9DA2D409B}" dt="2021-01-28T16:58:40.510" v="1759" actId="1076"/>
          <ac:spMkLst>
            <pc:docMk/>
            <pc:sldMk cId="3266835802" sldId="750"/>
            <ac:spMk id="14" creationId="{F6B3E33B-279A-4B57-A0C7-AFD4CB2BA78F}"/>
          </ac:spMkLst>
        </pc:spChg>
        <pc:spChg chg="mod">
          <ac:chgData name="Perez Diaz, Karen" userId="17027623-4de6-4c48-9453-394c2c5804f8" providerId="ADAL" clId="{29370469-C559-41E6-B5B3-74A9DA2D409B}" dt="2021-01-28T16:58:40.510" v="1759" actId="1076"/>
          <ac:spMkLst>
            <pc:docMk/>
            <pc:sldMk cId="3266835802" sldId="750"/>
            <ac:spMk id="36" creationId="{B1C07FB1-E4F7-46B0-9153-B6C0A2878CC2}"/>
          </ac:spMkLst>
        </pc:spChg>
        <pc:spChg chg="add">
          <ac:chgData name="Perez Diaz, Karen" userId="17027623-4de6-4c48-9453-394c2c5804f8" providerId="ADAL" clId="{29370469-C559-41E6-B5B3-74A9DA2D409B}" dt="2021-01-28T16:59:34.084" v="1761"/>
          <ac:spMkLst>
            <pc:docMk/>
            <pc:sldMk cId="3266835802" sldId="750"/>
            <ac:spMk id="68" creationId="{B4632804-C3C8-4E48-8A90-088E4D2F594E}"/>
          </ac:spMkLst>
        </pc:spChg>
        <pc:spChg chg="add">
          <ac:chgData name="Perez Diaz, Karen" userId="17027623-4de6-4c48-9453-394c2c5804f8" providerId="ADAL" clId="{29370469-C559-41E6-B5B3-74A9DA2D409B}" dt="2021-01-28T16:59:34.084" v="1761"/>
          <ac:spMkLst>
            <pc:docMk/>
            <pc:sldMk cId="3266835802" sldId="750"/>
            <ac:spMk id="70" creationId="{02049F8A-1705-45AA-AE7A-7A89660E629D}"/>
          </ac:spMkLst>
        </pc:spChg>
        <pc:spChg chg="add">
          <ac:chgData name="Perez Diaz, Karen" userId="17027623-4de6-4c48-9453-394c2c5804f8" providerId="ADAL" clId="{29370469-C559-41E6-B5B3-74A9DA2D409B}" dt="2021-01-28T16:59:34.084" v="1761"/>
          <ac:spMkLst>
            <pc:docMk/>
            <pc:sldMk cId="3266835802" sldId="750"/>
            <ac:spMk id="71" creationId="{F66EDE4A-AF54-497E-AA3A-ED75EB308B47}"/>
          </ac:spMkLst>
        </pc:spChg>
        <pc:spChg chg="add">
          <ac:chgData name="Perez Diaz, Karen" userId="17027623-4de6-4c48-9453-394c2c5804f8" providerId="ADAL" clId="{29370469-C559-41E6-B5B3-74A9DA2D409B}" dt="2021-01-28T16:59:34.084" v="1761"/>
          <ac:spMkLst>
            <pc:docMk/>
            <pc:sldMk cId="3266835802" sldId="750"/>
            <ac:spMk id="72" creationId="{755C4D52-BA4F-40BD-8453-CA0A98E07E6A}"/>
          </ac:spMkLst>
        </pc:spChg>
        <pc:spChg chg="add">
          <ac:chgData name="Perez Diaz, Karen" userId="17027623-4de6-4c48-9453-394c2c5804f8" providerId="ADAL" clId="{29370469-C559-41E6-B5B3-74A9DA2D409B}" dt="2021-01-28T16:59:34.084" v="1761"/>
          <ac:spMkLst>
            <pc:docMk/>
            <pc:sldMk cId="3266835802" sldId="750"/>
            <ac:spMk id="73" creationId="{6B58DCA2-0F91-47AB-B323-03712FEA0FE5}"/>
          </ac:spMkLst>
        </pc:spChg>
        <pc:spChg chg="add">
          <ac:chgData name="Perez Diaz, Karen" userId="17027623-4de6-4c48-9453-394c2c5804f8" providerId="ADAL" clId="{29370469-C559-41E6-B5B3-74A9DA2D409B}" dt="2021-01-28T16:59:34.084" v="1761"/>
          <ac:spMkLst>
            <pc:docMk/>
            <pc:sldMk cId="3266835802" sldId="750"/>
            <ac:spMk id="74" creationId="{3E352E4C-F871-4DE5-97D8-22EF4671E28B}"/>
          </ac:spMkLst>
        </pc:spChg>
        <pc:spChg chg="add">
          <ac:chgData name="Perez Diaz, Karen" userId="17027623-4de6-4c48-9453-394c2c5804f8" providerId="ADAL" clId="{29370469-C559-41E6-B5B3-74A9DA2D409B}" dt="2021-01-28T16:59:34.084" v="1761"/>
          <ac:spMkLst>
            <pc:docMk/>
            <pc:sldMk cId="3266835802" sldId="750"/>
            <ac:spMk id="75" creationId="{85D18E3F-6299-4B81-96FC-2205DA172E35}"/>
          </ac:spMkLst>
        </pc:spChg>
        <pc:spChg chg="add">
          <ac:chgData name="Perez Diaz, Karen" userId="17027623-4de6-4c48-9453-394c2c5804f8" providerId="ADAL" clId="{29370469-C559-41E6-B5B3-74A9DA2D409B}" dt="2021-01-28T16:59:34.084" v="1761"/>
          <ac:spMkLst>
            <pc:docMk/>
            <pc:sldMk cId="3266835802" sldId="750"/>
            <ac:spMk id="79" creationId="{901CAB42-4BF6-44D7-9F69-E15BFDC2F724}"/>
          </ac:spMkLst>
        </pc:spChg>
        <pc:spChg chg="add">
          <ac:chgData name="Perez Diaz, Karen" userId="17027623-4de6-4c48-9453-394c2c5804f8" providerId="ADAL" clId="{29370469-C559-41E6-B5B3-74A9DA2D409B}" dt="2021-01-28T16:59:34.084" v="1761"/>
          <ac:spMkLst>
            <pc:docMk/>
            <pc:sldMk cId="3266835802" sldId="750"/>
            <ac:spMk id="80" creationId="{7FACF2E3-C10B-4632-862E-62B8B19C98FC}"/>
          </ac:spMkLst>
        </pc:spChg>
        <pc:spChg chg="mod">
          <ac:chgData name="Perez Diaz, Karen" userId="17027623-4de6-4c48-9453-394c2c5804f8" providerId="ADAL" clId="{29370469-C559-41E6-B5B3-74A9DA2D409B}" dt="2021-01-28T16:58:49.175" v="1760" actId="1076"/>
          <ac:spMkLst>
            <pc:docMk/>
            <pc:sldMk cId="3266835802" sldId="750"/>
            <ac:spMk id="105" creationId="{BEC36B5A-7EB2-43A0-BD86-B837DED8DE95}"/>
          </ac:spMkLst>
        </pc:spChg>
        <pc:spChg chg="mod">
          <ac:chgData name="Perez Diaz, Karen" userId="17027623-4de6-4c48-9453-394c2c5804f8" providerId="ADAL" clId="{29370469-C559-41E6-B5B3-74A9DA2D409B}" dt="2021-01-28T16:58:49.175" v="1760" actId="1076"/>
          <ac:spMkLst>
            <pc:docMk/>
            <pc:sldMk cId="3266835802" sldId="750"/>
            <ac:spMk id="106" creationId="{6D6ECF35-C32B-4213-B8CE-3A997B9FF481}"/>
          </ac:spMkLst>
        </pc:spChg>
        <pc:spChg chg="mod">
          <ac:chgData name="Perez Diaz, Karen" userId="17027623-4de6-4c48-9453-394c2c5804f8" providerId="ADAL" clId="{29370469-C559-41E6-B5B3-74A9DA2D409B}" dt="2021-01-28T16:58:49.175" v="1760" actId="1076"/>
          <ac:spMkLst>
            <pc:docMk/>
            <pc:sldMk cId="3266835802" sldId="750"/>
            <ac:spMk id="107" creationId="{440FFB9C-94D4-4708-A9DC-34AAC6B046DA}"/>
          </ac:spMkLst>
        </pc:spChg>
        <pc:spChg chg="mod">
          <ac:chgData name="Perez Diaz, Karen" userId="17027623-4de6-4c48-9453-394c2c5804f8" providerId="ADAL" clId="{29370469-C559-41E6-B5B3-74A9DA2D409B}" dt="2021-01-28T16:58:49.175" v="1760" actId="1076"/>
          <ac:spMkLst>
            <pc:docMk/>
            <pc:sldMk cId="3266835802" sldId="750"/>
            <ac:spMk id="111" creationId="{A063BFA1-D944-4ED3-95B7-C1617A7EA0F9}"/>
          </ac:spMkLst>
        </pc:spChg>
        <pc:spChg chg="mod">
          <ac:chgData name="Perez Diaz, Karen" userId="17027623-4de6-4c48-9453-394c2c5804f8" providerId="ADAL" clId="{29370469-C559-41E6-B5B3-74A9DA2D409B}" dt="2021-01-28T16:58:49.175" v="1760" actId="1076"/>
          <ac:spMkLst>
            <pc:docMk/>
            <pc:sldMk cId="3266835802" sldId="750"/>
            <ac:spMk id="112" creationId="{ED2670D7-5235-4D4A-869B-5068651CDF74}"/>
          </ac:spMkLst>
        </pc:spChg>
        <pc:spChg chg="mod">
          <ac:chgData name="Perez Diaz, Karen" userId="17027623-4de6-4c48-9453-394c2c5804f8" providerId="ADAL" clId="{29370469-C559-41E6-B5B3-74A9DA2D409B}" dt="2021-01-28T16:58:49.175" v="1760" actId="1076"/>
          <ac:spMkLst>
            <pc:docMk/>
            <pc:sldMk cId="3266835802" sldId="750"/>
            <ac:spMk id="113" creationId="{CAED5ECA-DF73-4AAE-B74E-FC777DE1010E}"/>
          </ac:spMkLst>
        </pc:spChg>
        <pc:spChg chg="mod">
          <ac:chgData name="Perez Diaz, Karen" userId="17027623-4de6-4c48-9453-394c2c5804f8" providerId="ADAL" clId="{29370469-C559-41E6-B5B3-74A9DA2D409B}" dt="2021-01-28T16:58:49.175" v="1760" actId="1076"/>
          <ac:spMkLst>
            <pc:docMk/>
            <pc:sldMk cId="3266835802" sldId="750"/>
            <ac:spMk id="114" creationId="{E764AE2D-0FD2-4A7A-97D3-2191B1E4982F}"/>
          </ac:spMkLst>
        </pc:spChg>
        <pc:spChg chg="mod">
          <ac:chgData name="Perez Diaz, Karen" userId="17027623-4de6-4c48-9453-394c2c5804f8" providerId="ADAL" clId="{29370469-C559-41E6-B5B3-74A9DA2D409B}" dt="2021-01-28T16:58:49.175" v="1760" actId="1076"/>
          <ac:spMkLst>
            <pc:docMk/>
            <pc:sldMk cId="3266835802" sldId="750"/>
            <ac:spMk id="115" creationId="{735CAD3E-3CFB-4A7D-9DC0-8715BEBCB5C7}"/>
          </ac:spMkLst>
        </pc:spChg>
        <pc:grpChg chg="mod">
          <ac:chgData name="Perez Diaz, Karen" userId="17027623-4de6-4c48-9453-394c2c5804f8" providerId="ADAL" clId="{29370469-C559-41E6-B5B3-74A9DA2D409B}" dt="2021-01-28T16:58:49.175" v="1760" actId="1076"/>
          <ac:grpSpMkLst>
            <pc:docMk/>
            <pc:sldMk cId="3266835802" sldId="750"/>
            <ac:grpSpMk id="118" creationId="{6B36BE72-7F9C-4D83-8F46-F115176D5DEE}"/>
          </ac:grpSpMkLst>
        </pc:grpChg>
        <pc:grpChg chg="mod">
          <ac:chgData name="Perez Diaz, Karen" userId="17027623-4de6-4c48-9453-394c2c5804f8" providerId="ADAL" clId="{29370469-C559-41E6-B5B3-74A9DA2D409B}" dt="2021-01-28T16:58:40.510" v="1759" actId="1076"/>
          <ac:grpSpMkLst>
            <pc:docMk/>
            <pc:sldMk cId="3266835802" sldId="750"/>
            <ac:grpSpMk id="217" creationId="{9E5C4412-7EC4-487F-854E-0A306D3FA7D8}"/>
          </ac:grpSpMkLst>
        </pc:grpChg>
        <pc:cxnChg chg="mod">
          <ac:chgData name="Perez Diaz, Karen" userId="17027623-4de6-4c48-9453-394c2c5804f8" providerId="ADAL" clId="{29370469-C559-41E6-B5B3-74A9DA2D409B}" dt="2021-01-28T16:58:40.510" v="1759" actId="1076"/>
          <ac:cxnSpMkLst>
            <pc:docMk/>
            <pc:sldMk cId="3266835802" sldId="750"/>
            <ac:cxnSpMk id="20" creationId="{348D7C3F-B83C-43A8-9D28-CCC9C4BBB069}"/>
          </ac:cxnSpMkLst>
        </pc:cxnChg>
        <pc:cxnChg chg="mod">
          <ac:chgData name="Perez Diaz, Karen" userId="17027623-4de6-4c48-9453-394c2c5804f8" providerId="ADAL" clId="{29370469-C559-41E6-B5B3-74A9DA2D409B}" dt="2021-01-28T16:58:40.510" v="1759" actId="1076"/>
          <ac:cxnSpMkLst>
            <pc:docMk/>
            <pc:sldMk cId="3266835802" sldId="750"/>
            <ac:cxnSpMk id="25" creationId="{0FD92F1F-404B-4B75-922F-DC7CBDD99712}"/>
          </ac:cxnSpMkLst>
        </pc:cxnChg>
        <pc:cxnChg chg="mod">
          <ac:chgData name="Perez Diaz, Karen" userId="17027623-4de6-4c48-9453-394c2c5804f8" providerId="ADAL" clId="{29370469-C559-41E6-B5B3-74A9DA2D409B}" dt="2021-01-28T16:58:40.510" v="1759" actId="1076"/>
          <ac:cxnSpMkLst>
            <pc:docMk/>
            <pc:sldMk cId="3266835802" sldId="750"/>
            <ac:cxnSpMk id="27" creationId="{241AE13A-CC4B-4DEF-B58D-790536D65968}"/>
          </ac:cxnSpMkLst>
        </pc:cxnChg>
        <pc:cxnChg chg="mod">
          <ac:chgData name="Perez Diaz, Karen" userId="17027623-4de6-4c48-9453-394c2c5804f8" providerId="ADAL" clId="{29370469-C559-41E6-B5B3-74A9DA2D409B}" dt="2021-01-28T16:58:40.510" v="1759" actId="1076"/>
          <ac:cxnSpMkLst>
            <pc:docMk/>
            <pc:sldMk cId="3266835802" sldId="750"/>
            <ac:cxnSpMk id="31" creationId="{8FEF314A-9932-4F10-8E0C-6B6DF5F71CD9}"/>
          </ac:cxnSpMkLst>
        </pc:cxnChg>
        <pc:cxnChg chg="mod">
          <ac:chgData name="Perez Diaz, Karen" userId="17027623-4de6-4c48-9453-394c2c5804f8" providerId="ADAL" clId="{29370469-C559-41E6-B5B3-74A9DA2D409B}" dt="2021-01-28T16:58:40.510" v="1759" actId="1076"/>
          <ac:cxnSpMkLst>
            <pc:docMk/>
            <pc:sldMk cId="3266835802" sldId="750"/>
            <ac:cxnSpMk id="65" creationId="{9F79DEE4-32EB-4954-BB88-47EAFD90F0F2}"/>
          </ac:cxnSpMkLst>
        </pc:cxnChg>
        <pc:cxnChg chg="add">
          <ac:chgData name="Perez Diaz, Karen" userId="17027623-4de6-4c48-9453-394c2c5804f8" providerId="ADAL" clId="{29370469-C559-41E6-B5B3-74A9DA2D409B}" dt="2021-01-28T16:59:34.084" v="1761"/>
          <ac:cxnSpMkLst>
            <pc:docMk/>
            <pc:sldMk cId="3266835802" sldId="750"/>
            <ac:cxnSpMk id="76" creationId="{B6D77D4A-9E33-4036-BB44-F68859F0A25C}"/>
          </ac:cxnSpMkLst>
        </pc:cxnChg>
        <pc:cxnChg chg="add">
          <ac:chgData name="Perez Diaz, Karen" userId="17027623-4de6-4c48-9453-394c2c5804f8" providerId="ADAL" clId="{29370469-C559-41E6-B5B3-74A9DA2D409B}" dt="2021-01-28T16:59:34.084" v="1761"/>
          <ac:cxnSpMkLst>
            <pc:docMk/>
            <pc:sldMk cId="3266835802" sldId="750"/>
            <ac:cxnSpMk id="77" creationId="{44F862E5-9928-4DF4-A81A-EA0D3843B407}"/>
          </ac:cxnSpMkLst>
        </pc:cxnChg>
        <pc:cxnChg chg="add">
          <ac:chgData name="Perez Diaz, Karen" userId="17027623-4de6-4c48-9453-394c2c5804f8" providerId="ADAL" clId="{29370469-C559-41E6-B5B3-74A9DA2D409B}" dt="2021-01-28T16:59:34.084" v="1761"/>
          <ac:cxnSpMkLst>
            <pc:docMk/>
            <pc:sldMk cId="3266835802" sldId="750"/>
            <ac:cxnSpMk id="78" creationId="{FF466E25-414D-464D-A039-C096DB22B011}"/>
          </ac:cxnSpMkLst>
        </pc:cxnChg>
        <pc:cxnChg chg="add">
          <ac:chgData name="Perez Diaz, Karen" userId="17027623-4de6-4c48-9453-394c2c5804f8" providerId="ADAL" clId="{29370469-C559-41E6-B5B3-74A9DA2D409B}" dt="2021-01-28T16:59:34.084" v="1761"/>
          <ac:cxnSpMkLst>
            <pc:docMk/>
            <pc:sldMk cId="3266835802" sldId="750"/>
            <ac:cxnSpMk id="81" creationId="{135C0A01-24D9-4D02-A5E0-2234216B23E2}"/>
          </ac:cxnSpMkLst>
        </pc:cxnChg>
        <pc:cxnChg chg="add">
          <ac:chgData name="Perez Diaz, Karen" userId="17027623-4de6-4c48-9453-394c2c5804f8" providerId="ADAL" clId="{29370469-C559-41E6-B5B3-74A9DA2D409B}" dt="2021-01-28T16:59:34.084" v="1761"/>
          <ac:cxnSpMkLst>
            <pc:docMk/>
            <pc:sldMk cId="3266835802" sldId="750"/>
            <ac:cxnSpMk id="82" creationId="{06644D4B-6761-41DC-BEFE-17EAECE088E5}"/>
          </ac:cxnSpMkLst>
        </pc:cxnChg>
        <pc:cxnChg chg="mod">
          <ac:chgData name="Perez Diaz, Karen" userId="17027623-4de6-4c48-9453-394c2c5804f8" providerId="ADAL" clId="{29370469-C559-41E6-B5B3-74A9DA2D409B}" dt="2021-01-28T16:58:49.175" v="1760" actId="1076"/>
          <ac:cxnSpMkLst>
            <pc:docMk/>
            <pc:sldMk cId="3266835802" sldId="750"/>
            <ac:cxnSpMk id="108" creationId="{4B2ADA09-0B27-4A10-8143-73FC014C2D4D}"/>
          </ac:cxnSpMkLst>
        </pc:cxnChg>
        <pc:cxnChg chg="mod">
          <ac:chgData name="Perez Diaz, Karen" userId="17027623-4de6-4c48-9453-394c2c5804f8" providerId="ADAL" clId="{29370469-C559-41E6-B5B3-74A9DA2D409B}" dt="2021-01-28T16:58:49.175" v="1760" actId="1076"/>
          <ac:cxnSpMkLst>
            <pc:docMk/>
            <pc:sldMk cId="3266835802" sldId="750"/>
            <ac:cxnSpMk id="109" creationId="{7BCF6360-AB3F-429E-B268-C804BE60EE19}"/>
          </ac:cxnSpMkLst>
        </pc:cxnChg>
        <pc:cxnChg chg="mod">
          <ac:chgData name="Perez Diaz, Karen" userId="17027623-4de6-4c48-9453-394c2c5804f8" providerId="ADAL" clId="{29370469-C559-41E6-B5B3-74A9DA2D409B}" dt="2021-01-28T16:58:49.175" v="1760" actId="1076"/>
          <ac:cxnSpMkLst>
            <pc:docMk/>
            <pc:sldMk cId="3266835802" sldId="750"/>
            <ac:cxnSpMk id="110" creationId="{D42AA51F-4DA3-4364-AA2A-F7FD698C624E}"/>
          </ac:cxnSpMkLst>
        </pc:cxnChg>
        <pc:cxnChg chg="mod">
          <ac:chgData name="Perez Diaz, Karen" userId="17027623-4de6-4c48-9453-394c2c5804f8" providerId="ADAL" clId="{29370469-C559-41E6-B5B3-74A9DA2D409B}" dt="2021-01-28T16:58:49.175" v="1760" actId="1076"/>
          <ac:cxnSpMkLst>
            <pc:docMk/>
            <pc:sldMk cId="3266835802" sldId="750"/>
            <ac:cxnSpMk id="116" creationId="{52CF43AC-B38B-4911-B10C-6B5824EEC3AC}"/>
          </ac:cxnSpMkLst>
        </pc:cxnChg>
        <pc:cxnChg chg="mod">
          <ac:chgData name="Perez Diaz, Karen" userId="17027623-4de6-4c48-9453-394c2c5804f8" providerId="ADAL" clId="{29370469-C559-41E6-B5B3-74A9DA2D409B}" dt="2021-01-28T16:58:49.175" v="1760" actId="1076"/>
          <ac:cxnSpMkLst>
            <pc:docMk/>
            <pc:sldMk cId="3266835802" sldId="750"/>
            <ac:cxnSpMk id="117" creationId="{2C2FB829-5D35-4F54-B2F6-CDFE327A848C}"/>
          </ac:cxnSpMkLst>
        </pc:cxnChg>
      </pc:sldChg>
    </pc:docChg>
  </pc:docChgLst>
  <pc:docChgLst>
    <pc:chgData name="Perez Diaz, Karen" userId="17027623-4de6-4c48-9453-394c2c5804f8" providerId="ADAL" clId="{4BCA2088-F059-4927-B735-09D7E4190762}"/>
    <pc:docChg chg="modSld">
      <pc:chgData name="Perez Diaz, Karen" userId="17027623-4de6-4c48-9453-394c2c5804f8" providerId="ADAL" clId="{4BCA2088-F059-4927-B735-09D7E4190762}" dt="2020-12-22T19:43:25.707" v="19" actId="14100"/>
      <pc:docMkLst>
        <pc:docMk/>
      </pc:docMkLst>
      <pc:sldChg chg="modSp">
        <pc:chgData name="Perez Diaz, Karen" userId="17027623-4de6-4c48-9453-394c2c5804f8" providerId="ADAL" clId="{4BCA2088-F059-4927-B735-09D7E4190762}" dt="2020-12-22T19:43:25.707" v="19" actId="14100"/>
        <pc:sldMkLst>
          <pc:docMk/>
          <pc:sldMk cId="753726229" sldId="379"/>
        </pc:sldMkLst>
        <pc:spChg chg="mod">
          <ac:chgData name="Perez Diaz, Karen" userId="17027623-4de6-4c48-9453-394c2c5804f8" providerId="ADAL" clId="{4BCA2088-F059-4927-B735-09D7E4190762}" dt="2020-12-22T19:43:25.707" v="19" actId="14100"/>
          <ac:spMkLst>
            <pc:docMk/>
            <pc:sldMk cId="753726229" sldId="379"/>
            <ac:spMk id="38" creationId="{1A443F8F-8D68-42AA-BAEE-15BC368AA565}"/>
          </ac:spMkLst>
        </pc:spChg>
      </pc:sldChg>
    </pc:docChg>
  </pc:docChgLst>
  <pc:docChgLst>
    <pc:chgData name="Perez Diaz, Karen" userId="17027623-4de6-4c48-9453-394c2c5804f8" providerId="ADAL" clId="{0DCB131B-3EFE-42DC-9206-7151797C1B48}"/>
    <pc:docChg chg="undo custSel addSld delSld modSld sldOrd">
      <pc:chgData name="Perez Diaz, Karen" userId="17027623-4de6-4c48-9453-394c2c5804f8" providerId="ADAL" clId="{0DCB131B-3EFE-42DC-9206-7151797C1B48}" dt="2021-01-07T19:14:51.188" v="2362" actId="6549"/>
      <pc:docMkLst>
        <pc:docMk/>
      </pc:docMkLst>
      <pc:sldChg chg="del">
        <pc:chgData name="Perez Diaz, Karen" userId="17027623-4de6-4c48-9453-394c2c5804f8" providerId="ADAL" clId="{0DCB131B-3EFE-42DC-9206-7151797C1B48}" dt="2021-01-06T21:48:35.824" v="2288" actId="2696"/>
        <pc:sldMkLst>
          <pc:docMk/>
          <pc:sldMk cId="3585510629" sldId="257"/>
        </pc:sldMkLst>
      </pc:sldChg>
      <pc:sldChg chg="del">
        <pc:chgData name="Perez Diaz, Karen" userId="17027623-4de6-4c48-9453-394c2c5804f8" providerId="ADAL" clId="{0DCB131B-3EFE-42DC-9206-7151797C1B48}" dt="2021-01-06T21:48:33.188" v="2287" actId="2696"/>
        <pc:sldMkLst>
          <pc:docMk/>
          <pc:sldMk cId="3660307796" sldId="258"/>
        </pc:sldMkLst>
      </pc:sldChg>
      <pc:sldChg chg="delSp">
        <pc:chgData name="Perez Diaz, Karen" userId="17027623-4de6-4c48-9453-394c2c5804f8" providerId="ADAL" clId="{0DCB131B-3EFE-42DC-9206-7151797C1B48}" dt="2021-01-06T21:48:40.067" v="2289" actId="478"/>
        <pc:sldMkLst>
          <pc:docMk/>
          <pc:sldMk cId="3887687176" sldId="260"/>
        </pc:sldMkLst>
        <pc:spChg chg="del">
          <ac:chgData name="Perez Diaz, Karen" userId="17027623-4de6-4c48-9453-394c2c5804f8" providerId="ADAL" clId="{0DCB131B-3EFE-42DC-9206-7151797C1B48}" dt="2021-01-06T21:48:40.067" v="2289" actId="478"/>
          <ac:spMkLst>
            <pc:docMk/>
            <pc:sldMk cId="3887687176" sldId="260"/>
            <ac:spMk id="5" creationId="{00000000-0000-0000-0000-000000000000}"/>
          </ac:spMkLst>
        </pc:spChg>
      </pc:sldChg>
      <pc:sldChg chg="del">
        <pc:chgData name="Perez Diaz, Karen" userId="17027623-4de6-4c48-9453-394c2c5804f8" providerId="ADAL" clId="{0DCB131B-3EFE-42DC-9206-7151797C1B48}" dt="2021-01-06T21:52:29.356" v="2301" actId="2696"/>
        <pc:sldMkLst>
          <pc:docMk/>
          <pc:sldMk cId="4198846102" sldId="261"/>
        </pc:sldMkLst>
      </pc:sldChg>
      <pc:sldChg chg="del">
        <pc:chgData name="Perez Diaz, Karen" userId="17027623-4de6-4c48-9453-394c2c5804f8" providerId="ADAL" clId="{0DCB131B-3EFE-42DC-9206-7151797C1B48}" dt="2021-01-06T21:52:29.418" v="2302" actId="2696"/>
        <pc:sldMkLst>
          <pc:docMk/>
          <pc:sldMk cId="62781358" sldId="263"/>
        </pc:sldMkLst>
      </pc:sldChg>
      <pc:sldChg chg="del">
        <pc:chgData name="Perez Diaz, Karen" userId="17027623-4de6-4c48-9453-394c2c5804f8" providerId="ADAL" clId="{0DCB131B-3EFE-42DC-9206-7151797C1B48}" dt="2021-01-06T21:52:29.475" v="2303" actId="2696"/>
        <pc:sldMkLst>
          <pc:docMk/>
          <pc:sldMk cId="1702889176" sldId="265"/>
        </pc:sldMkLst>
      </pc:sldChg>
      <pc:sldChg chg="del">
        <pc:chgData name="Perez Diaz, Karen" userId="17027623-4de6-4c48-9453-394c2c5804f8" providerId="ADAL" clId="{0DCB131B-3EFE-42DC-9206-7151797C1B48}" dt="2021-01-06T21:52:29.531" v="2304" actId="2696"/>
        <pc:sldMkLst>
          <pc:docMk/>
          <pc:sldMk cId="2153042051" sldId="266"/>
        </pc:sldMkLst>
      </pc:sldChg>
      <pc:sldChg chg="del">
        <pc:chgData name="Perez Diaz, Karen" userId="17027623-4de6-4c48-9453-394c2c5804f8" providerId="ADAL" clId="{0DCB131B-3EFE-42DC-9206-7151797C1B48}" dt="2021-01-06T21:52:29.593" v="2305" actId="2696"/>
        <pc:sldMkLst>
          <pc:docMk/>
          <pc:sldMk cId="4179492691" sldId="267"/>
        </pc:sldMkLst>
      </pc:sldChg>
      <pc:sldChg chg="del">
        <pc:chgData name="Perez Diaz, Karen" userId="17027623-4de6-4c48-9453-394c2c5804f8" providerId="ADAL" clId="{0DCB131B-3EFE-42DC-9206-7151797C1B48}" dt="2021-01-06T21:52:29.715" v="2307" actId="2696"/>
        <pc:sldMkLst>
          <pc:docMk/>
          <pc:sldMk cId="1002265503" sldId="268"/>
        </pc:sldMkLst>
      </pc:sldChg>
      <pc:sldChg chg="del">
        <pc:chgData name="Perez Diaz, Karen" userId="17027623-4de6-4c48-9453-394c2c5804f8" providerId="ADAL" clId="{0DCB131B-3EFE-42DC-9206-7151797C1B48}" dt="2021-01-06T21:52:29.639" v="2306" actId="2696"/>
        <pc:sldMkLst>
          <pc:docMk/>
          <pc:sldMk cId="3467534185" sldId="269"/>
        </pc:sldMkLst>
      </pc:sldChg>
      <pc:sldChg chg="del">
        <pc:chgData name="Perez Diaz, Karen" userId="17027623-4de6-4c48-9453-394c2c5804f8" providerId="ADAL" clId="{0DCB131B-3EFE-42DC-9206-7151797C1B48}" dt="2021-01-06T21:52:30.152" v="2313" actId="2696"/>
        <pc:sldMkLst>
          <pc:docMk/>
          <pc:sldMk cId="212084242" sldId="272"/>
        </pc:sldMkLst>
      </pc:sldChg>
      <pc:sldChg chg="del">
        <pc:chgData name="Perez Diaz, Karen" userId="17027623-4de6-4c48-9453-394c2c5804f8" providerId="ADAL" clId="{0DCB131B-3EFE-42DC-9206-7151797C1B48}" dt="2021-01-06T21:52:30.214" v="2314" actId="2696"/>
        <pc:sldMkLst>
          <pc:docMk/>
          <pc:sldMk cId="692086069" sldId="273"/>
        </pc:sldMkLst>
      </pc:sldChg>
      <pc:sldChg chg="del">
        <pc:chgData name="Perez Diaz, Karen" userId="17027623-4de6-4c48-9453-394c2c5804f8" providerId="ADAL" clId="{0DCB131B-3EFE-42DC-9206-7151797C1B48}" dt="2021-01-06T21:52:30.281" v="2315" actId="2696"/>
        <pc:sldMkLst>
          <pc:docMk/>
          <pc:sldMk cId="284355314" sldId="274"/>
        </pc:sldMkLst>
      </pc:sldChg>
      <pc:sldChg chg="del">
        <pc:chgData name="Perez Diaz, Karen" userId="17027623-4de6-4c48-9453-394c2c5804f8" providerId="ADAL" clId="{0DCB131B-3EFE-42DC-9206-7151797C1B48}" dt="2021-01-06T21:52:30.404" v="2317" actId="2696"/>
        <pc:sldMkLst>
          <pc:docMk/>
          <pc:sldMk cId="310597355" sldId="275"/>
        </pc:sldMkLst>
      </pc:sldChg>
      <pc:sldChg chg="del">
        <pc:chgData name="Perez Diaz, Karen" userId="17027623-4de6-4c48-9453-394c2c5804f8" providerId="ADAL" clId="{0DCB131B-3EFE-42DC-9206-7151797C1B48}" dt="2021-01-06T21:52:30.328" v="2316" actId="2696"/>
        <pc:sldMkLst>
          <pc:docMk/>
          <pc:sldMk cId="2680744640" sldId="276"/>
        </pc:sldMkLst>
      </pc:sldChg>
      <pc:sldChg chg="del">
        <pc:chgData name="Perez Diaz, Karen" userId="17027623-4de6-4c48-9453-394c2c5804f8" providerId="ADAL" clId="{0DCB131B-3EFE-42DC-9206-7151797C1B48}" dt="2021-01-06T21:52:30.576" v="2320" actId="2696"/>
        <pc:sldMkLst>
          <pc:docMk/>
          <pc:sldMk cId="3980028277" sldId="278"/>
        </pc:sldMkLst>
      </pc:sldChg>
      <pc:sldChg chg="del">
        <pc:chgData name="Perez Diaz, Karen" userId="17027623-4de6-4c48-9453-394c2c5804f8" providerId="ADAL" clId="{0DCB131B-3EFE-42DC-9206-7151797C1B48}" dt="2021-01-06T21:52:30.627" v="2321" actId="2696"/>
        <pc:sldMkLst>
          <pc:docMk/>
          <pc:sldMk cId="3479740374" sldId="279"/>
        </pc:sldMkLst>
      </pc:sldChg>
      <pc:sldChg chg="del">
        <pc:chgData name="Perez Diaz, Karen" userId="17027623-4de6-4c48-9453-394c2c5804f8" providerId="ADAL" clId="{0DCB131B-3EFE-42DC-9206-7151797C1B48}" dt="2021-01-06T21:52:30.686" v="2322" actId="2696"/>
        <pc:sldMkLst>
          <pc:docMk/>
          <pc:sldMk cId="1909730383" sldId="280"/>
        </pc:sldMkLst>
      </pc:sldChg>
      <pc:sldChg chg="del">
        <pc:chgData name="Perez Diaz, Karen" userId="17027623-4de6-4c48-9453-394c2c5804f8" providerId="ADAL" clId="{0DCB131B-3EFE-42DC-9206-7151797C1B48}" dt="2021-01-06T21:52:30.740" v="2323" actId="2696"/>
        <pc:sldMkLst>
          <pc:docMk/>
          <pc:sldMk cId="1091974881" sldId="281"/>
        </pc:sldMkLst>
      </pc:sldChg>
      <pc:sldChg chg="del">
        <pc:chgData name="Perez Diaz, Karen" userId="17027623-4de6-4c48-9453-394c2c5804f8" providerId="ADAL" clId="{0DCB131B-3EFE-42DC-9206-7151797C1B48}" dt="2021-01-06T21:52:30.798" v="2324" actId="2696"/>
        <pc:sldMkLst>
          <pc:docMk/>
          <pc:sldMk cId="2301788946" sldId="282"/>
        </pc:sldMkLst>
      </pc:sldChg>
      <pc:sldChg chg="del">
        <pc:chgData name="Perez Diaz, Karen" userId="17027623-4de6-4c48-9453-394c2c5804f8" providerId="ADAL" clId="{0DCB131B-3EFE-42DC-9206-7151797C1B48}" dt="2021-01-06T21:52:30.905" v="2325" actId="2696"/>
        <pc:sldMkLst>
          <pc:docMk/>
          <pc:sldMk cId="4241624017" sldId="283"/>
        </pc:sldMkLst>
      </pc:sldChg>
      <pc:sldChg chg="del">
        <pc:chgData name="Perez Diaz, Karen" userId="17027623-4de6-4c48-9453-394c2c5804f8" providerId="ADAL" clId="{0DCB131B-3EFE-42DC-9206-7151797C1B48}" dt="2021-01-06T21:52:30.993" v="2326" actId="2696"/>
        <pc:sldMkLst>
          <pc:docMk/>
          <pc:sldMk cId="1755395930" sldId="284"/>
        </pc:sldMkLst>
      </pc:sldChg>
      <pc:sldChg chg="del">
        <pc:chgData name="Perez Diaz, Karen" userId="17027623-4de6-4c48-9453-394c2c5804f8" providerId="ADAL" clId="{0DCB131B-3EFE-42DC-9206-7151797C1B48}" dt="2021-01-06T21:52:31.049" v="2327" actId="2696"/>
        <pc:sldMkLst>
          <pc:docMk/>
          <pc:sldMk cId="2446719411" sldId="285"/>
        </pc:sldMkLst>
      </pc:sldChg>
      <pc:sldChg chg="del">
        <pc:chgData name="Perez Diaz, Karen" userId="17027623-4de6-4c48-9453-394c2c5804f8" providerId="ADAL" clId="{0DCB131B-3EFE-42DC-9206-7151797C1B48}" dt="2021-01-06T21:52:31.101" v="2328" actId="2696"/>
        <pc:sldMkLst>
          <pc:docMk/>
          <pc:sldMk cId="49975999" sldId="286"/>
        </pc:sldMkLst>
      </pc:sldChg>
      <pc:sldChg chg="del">
        <pc:chgData name="Perez Diaz, Karen" userId="17027623-4de6-4c48-9453-394c2c5804f8" providerId="ADAL" clId="{0DCB131B-3EFE-42DC-9206-7151797C1B48}" dt="2021-01-06T21:52:31.159" v="2330" actId="2696"/>
        <pc:sldMkLst>
          <pc:docMk/>
          <pc:sldMk cId="4240187392" sldId="288"/>
        </pc:sldMkLst>
      </pc:sldChg>
      <pc:sldChg chg="del">
        <pc:chgData name="Perez Diaz, Karen" userId="17027623-4de6-4c48-9453-394c2c5804f8" providerId="ADAL" clId="{0DCB131B-3EFE-42DC-9206-7151797C1B48}" dt="2021-01-06T21:52:31.209" v="2331" actId="2696"/>
        <pc:sldMkLst>
          <pc:docMk/>
          <pc:sldMk cId="105036416" sldId="289"/>
        </pc:sldMkLst>
      </pc:sldChg>
      <pc:sldChg chg="del">
        <pc:chgData name="Perez Diaz, Karen" userId="17027623-4de6-4c48-9453-394c2c5804f8" providerId="ADAL" clId="{0DCB131B-3EFE-42DC-9206-7151797C1B48}" dt="2021-01-06T21:52:31.260" v="2332" actId="2696"/>
        <pc:sldMkLst>
          <pc:docMk/>
          <pc:sldMk cId="3655224858" sldId="290"/>
        </pc:sldMkLst>
      </pc:sldChg>
      <pc:sldChg chg="del">
        <pc:chgData name="Perez Diaz, Karen" userId="17027623-4de6-4c48-9453-394c2c5804f8" providerId="ADAL" clId="{0DCB131B-3EFE-42DC-9206-7151797C1B48}" dt="2021-01-06T21:52:31.286" v="2333" actId="2696"/>
        <pc:sldMkLst>
          <pc:docMk/>
          <pc:sldMk cId="3799523929" sldId="291"/>
        </pc:sldMkLst>
      </pc:sldChg>
      <pc:sldChg chg="del">
        <pc:chgData name="Perez Diaz, Karen" userId="17027623-4de6-4c48-9453-394c2c5804f8" providerId="ADAL" clId="{0DCB131B-3EFE-42DC-9206-7151797C1B48}" dt="2021-01-06T21:52:31.327" v="2334" actId="2696"/>
        <pc:sldMkLst>
          <pc:docMk/>
          <pc:sldMk cId="3319124270" sldId="292"/>
        </pc:sldMkLst>
      </pc:sldChg>
      <pc:sldChg chg="del">
        <pc:chgData name="Perez Diaz, Karen" userId="17027623-4de6-4c48-9453-394c2c5804f8" providerId="ADAL" clId="{0DCB131B-3EFE-42DC-9206-7151797C1B48}" dt="2021-01-06T21:52:31.385" v="2335" actId="2696"/>
        <pc:sldMkLst>
          <pc:docMk/>
          <pc:sldMk cId="1056868111" sldId="293"/>
        </pc:sldMkLst>
      </pc:sldChg>
      <pc:sldChg chg="del">
        <pc:chgData name="Perez Diaz, Karen" userId="17027623-4de6-4c48-9453-394c2c5804f8" providerId="ADAL" clId="{0DCB131B-3EFE-42DC-9206-7151797C1B48}" dt="2021-01-06T21:52:31.447" v="2336" actId="2696"/>
        <pc:sldMkLst>
          <pc:docMk/>
          <pc:sldMk cId="524635612" sldId="294"/>
        </pc:sldMkLst>
      </pc:sldChg>
      <pc:sldChg chg="del">
        <pc:chgData name="Perez Diaz, Karen" userId="17027623-4de6-4c48-9453-394c2c5804f8" providerId="ADAL" clId="{0DCB131B-3EFE-42DC-9206-7151797C1B48}" dt="2021-01-06T21:52:31.713" v="2340" actId="2696"/>
        <pc:sldMkLst>
          <pc:docMk/>
          <pc:sldMk cId="1131813830" sldId="298"/>
        </pc:sldMkLst>
      </pc:sldChg>
      <pc:sldChg chg="del">
        <pc:chgData name="Perez Diaz, Karen" userId="17027623-4de6-4c48-9453-394c2c5804f8" providerId="ADAL" clId="{0DCB131B-3EFE-42DC-9206-7151797C1B48}" dt="2021-01-06T21:52:31.823" v="2341" actId="2696"/>
        <pc:sldMkLst>
          <pc:docMk/>
          <pc:sldMk cId="2171717940" sldId="299"/>
        </pc:sldMkLst>
      </pc:sldChg>
      <pc:sldChg chg="del">
        <pc:chgData name="Perez Diaz, Karen" userId="17027623-4de6-4c48-9453-394c2c5804f8" providerId="ADAL" clId="{0DCB131B-3EFE-42DC-9206-7151797C1B48}" dt="2021-01-06T21:52:31.900" v="2343" actId="2696"/>
        <pc:sldMkLst>
          <pc:docMk/>
          <pc:sldMk cId="315564378" sldId="301"/>
        </pc:sldMkLst>
      </pc:sldChg>
      <pc:sldChg chg="del">
        <pc:chgData name="Perez Diaz, Karen" userId="17027623-4de6-4c48-9453-394c2c5804f8" providerId="ADAL" clId="{0DCB131B-3EFE-42DC-9206-7151797C1B48}" dt="2021-01-06T21:52:31.920" v="2344" actId="2696"/>
        <pc:sldMkLst>
          <pc:docMk/>
          <pc:sldMk cId="2481496434" sldId="302"/>
        </pc:sldMkLst>
      </pc:sldChg>
      <pc:sldChg chg="del">
        <pc:chgData name="Perez Diaz, Karen" userId="17027623-4de6-4c48-9453-394c2c5804f8" providerId="ADAL" clId="{0DCB131B-3EFE-42DC-9206-7151797C1B48}" dt="2021-01-06T21:53:03.364" v="2346" actId="2696"/>
        <pc:sldMkLst>
          <pc:docMk/>
          <pc:sldMk cId="867503253" sldId="303"/>
        </pc:sldMkLst>
      </pc:sldChg>
      <pc:sldChg chg="del">
        <pc:chgData name="Perez Diaz, Karen" userId="17027623-4de6-4c48-9453-394c2c5804f8" providerId="ADAL" clId="{0DCB131B-3EFE-42DC-9206-7151797C1B48}" dt="2021-01-06T21:53:03.396" v="2348" actId="2696"/>
        <pc:sldMkLst>
          <pc:docMk/>
          <pc:sldMk cId="1455766230" sldId="304"/>
        </pc:sldMkLst>
      </pc:sldChg>
      <pc:sldChg chg="del">
        <pc:chgData name="Perez Diaz, Karen" userId="17027623-4de6-4c48-9453-394c2c5804f8" providerId="ADAL" clId="{0DCB131B-3EFE-42DC-9206-7151797C1B48}" dt="2021-01-06T21:53:03.412" v="2349" actId="2696"/>
        <pc:sldMkLst>
          <pc:docMk/>
          <pc:sldMk cId="1505478208" sldId="305"/>
        </pc:sldMkLst>
      </pc:sldChg>
      <pc:sldChg chg="del">
        <pc:chgData name="Perez Diaz, Karen" userId="17027623-4de6-4c48-9453-394c2c5804f8" providerId="ADAL" clId="{0DCB131B-3EFE-42DC-9206-7151797C1B48}" dt="2021-01-06T21:52:30.476" v="2318" actId="2696"/>
        <pc:sldMkLst>
          <pc:docMk/>
          <pc:sldMk cId="111735212" sldId="310"/>
        </pc:sldMkLst>
      </pc:sldChg>
      <pc:sldChg chg="del">
        <pc:chgData name="Perez Diaz, Karen" userId="17027623-4de6-4c48-9453-394c2c5804f8" providerId="ADAL" clId="{0DCB131B-3EFE-42DC-9206-7151797C1B48}" dt="2021-01-06T21:52:29.796" v="2308" actId="2696"/>
        <pc:sldMkLst>
          <pc:docMk/>
          <pc:sldMk cId="207782174" sldId="311"/>
        </pc:sldMkLst>
      </pc:sldChg>
      <pc:sldChg chg="delSp modSp ord">
        <pc:chgData name="Perez Diaz, Karen" userId="17027623-4de6-4c48-9453-394c2c5804f8" providerId="ADAL" clId="{0DCB131B-3EFE-42DC-9206-7151797C1B48}" dt="2021-01-06T21:48:48.651" v="2291" actId="478"/>
        <pc:sldMkLst>
          <pc:docMk/>
          <pc:sldMk cId="753726229" sldId="379"/>
        </pc:sldMkLst>
        <pc:spChg chg="del mod">
          <ac:chgData name="Perez Diaz, Karen" userId="17027623-4de6-4c48-9453-394c2c5804f8" providerId="ADAL" clId="{0DCB131B-3EFE-42DC-9206-7151797C1B48}" dt="2021-01-06T21:48:48.651" v="2291" actId="478"/>
          <ac:spMkLst>
            <pc:docMk/>
            <pc:sldMk cId="753726229" sldId="379"/>
            <ac:spMk id="43" creationId="{B878A2F9-6E93-4A8D-952F-08A71648C6EF}"/>
          </ac:spMkLst>
        </pc:spChg>
      </pc:sldChg>
      <pc:sldChg chg="del">
        <pc:chgData name="Perez Diaz, Karen" userId="17027623-4de6-4c48-9453-394c2c5804f8" providerId="ADAL" clId="{0DCB131B-3EFE-42DC-9206-7151797C1B48}" dt="2021-01-06T21:48:14.452" v="2286" actId="2696"/>
        <pc:sldMkLst>
          <pc:docMk/>
          <pc:sldMk cId="2981374527" sldId="519"/>
        </pc:sldMkLst>
      </pc:sldChg>
      <pc:sldChg chg="del">
        <pc:chgData name="Perez Diaz, Karen" userId="17027623-4de6-4c48-9453-394c2c5804f8" providerId="ADAL" clId="{0DCB131B-3EFE-42DC-9206-7151797C1B48}" dt="2021-01-06T21:53:03.349" v="2345" actId="2696"/>
        <pc:sldMkLst>
          <pc:docMk/>
          <pc:sldMk cId="2029077284" sldId="572"/>
        </pc:sldMkLst>
      </pc:sldChg>
      <pc:sldChg chg="del">
        <pc:chgData name="Perez Diaz, Karen" userId="17027623-4de6-4c48-9453-394c2c5804f8" providerId="ADAL" clId="{0DCB131B-3EFE-42DC-9206-7151797C1B48}" dt="2021-01-06T21:52:29.934" v="2310" actId="2696"/>
        <pc:sldMkLst>
          <pc:docMk/>
          <pc:sldMk cId="3993351514" sldId="586"/>
        </pc:sldMkLst>
      </pc:sldChg>
      <pc:sldChg chg="del">
        <pc:chgData name="Perez Diaz, Karen" userId="17027623-4de6-4c48-9453-394c2c5804f8" providerId="ADAL" clId="{0DCB131B-3EFE-42DC-9206-7151797C1B48}" dt="2021-01-06T21:52:29.994" v="2311" actId="2696"/>
        <pc:sldMkLst>
          <pc:docMk/>
          <pc:sldMk cId="1122392241" sldId="590"/>
        </pc:sldMkLst>
      </pc:sldChg>
      <pc:sldChg chg="del">
        <pc:chgData name="Perez Diaz, Karen" userId="17027623-4de6-4c48-9453-394c2c5804f8" providerId="ADAL" clId="{0DCB131B-3EFE-42DC-9206-7151797C1B48}" dt="2021-01-06T21:52:30.072" v="2312" actId="2696"/>
        <pc:sldMkLst>
          <pc:docMk/>
          <pc:sldMk cId="411204037" sldId="591"/>
        </pc:sldMkLst>
      </pc:sldChg>
      <pc:sldChg chg="del">
        <pc:chgData name="Perez Diaz, Karen" userId="17027623-4de6-4c48-9453-394c2c5804f8" providerId="ADAL" clId="{0DCB131B-3EFE-42DC-9206-7151797C1B48}" dt="2021-01-06T21:52:30.521" v="2319" actId="2696"/>
        <pc:sldMkLst>
          <pc:docMk/>
          <pc:sldMk cId="2142635461" sldId="592"/>
        </pc:sldMkLst>
      </pc:sldChg>
      <pc:sldChg chg="del">
        <pc:chgData name="Perez Diaz, Karen" userId="17027623-4de6-4c48-9453-394c2c5804f8" providerId="ADAL" clId="{0DCB131B-3EFE-42DC-9206-7151797C1B48}" dt="2021-01-06T21:52:31.124" v="2329" actId="2696"/>
        <pc:sldMkLst>
          <pc:docMk/>
          <pc:sldMk cId="696519804" sldId="593"/>
        </pc:sldMkLst>
      </pc:sldChg>
      <pc:sldChg chg="del">
        <pc:chgData name="Perez Diaz, Karen" userId="17027623-4de6-4c48-9453-394c2c5804f8" providerId="ADAL" clId="{0DCB131B-3EFE-42DC-9206-7151797C1B48}" dt="2021-01-06T21:52:31.516" v="2337" actId="2696"/>
        <pc:sldMkLst>
          <pc:docMk/>
          <pc:sldMk cId="3478794160" sldId="594"/>
        </pc:sldMkLst>
      </pc:sldChg>
      <pc:sldChg chg="del">
        <pc:chgData name="Perez Diaz, Karen" userId="17027623-4de6-4c48-9453-394c2c5804f8" providerId="ADAL" clId="{0DCB131B-3EFE-42DC-9206-7151797C1B48}" dt="2021-01-06T21:52:31.588" v="2338" actId="2696"/>
        <pc:sldMkLst>
          <pc:docMk/>
          <pc:sldMk cId="2822776316" sldId="595"/>
        </pc:sldMkLst>
      </pc:sldChg>
      <pc:sldChg chg="del">
        <pc:chgData name="Perez Diaz, Karen" userId="17027623-4de6-4c48-9453-394c2c5804f8" providerId="ADAL" clId="{0DCB131B-3EFE-42DC-9206-7151797C1B48}" dt="2021-01-06T21:52:31.656" v="2339" actId="2696"/>
        <pc:sldMkLst>
          <pc:docMk/>
          <pc:sldMk cId="3180175613" sldId="596"/>
        </pc:sldMkLst>
      </pc:sldChg>
      <pc:sldChg chg="del">
        <pc:chgData name="Perez Diaz, Karen" userId="17027623-4de6-4c48-9453-394c2c5804f8" providerId="ADAL" clId="{0DCB131B-3EFE-42DC-9206-7151797C1B48}" dt="2021-01-06T21:52:31.862" v="2342" actId="2696"/>
        <pc:sldMkLst>
          <pc:docMk/>
          <pc:sldMk cId="3608377419" sldId="597"/>
        </pc:sldMkLst>
      </pc:sldChg>
      <pc:sldChg chg="del">
        <pc:chgData name="Perez Diaz, Karen" userId="17027623-4de6-4c48-9453-394c2c5804f8" providerId="ADAL" clId="{0DCB131B-3EFE-42DC-9206-7151797C1B48}" dt="2021-01-06T21:52:29.872" v="2309" actId="2696"/>
        <pc:sldMkLst>
          <pc:docMk/>
          <pc:sldMk cId="2665479569" sldId="601"/>
        </pc:sldMkLst>
      </pc:sldChg>
      <pc:sldChg chg="del">
        <pc:chgData name="Perez Diaz, Karen" userId="17027623-4de6-4c48-9453-394c2c5804f8" providerId="ADAL" clId="{0DCB131B-3EFE-42DC-9206-7151797C1B48}" dt="2021-01-06T21:53:03.427" v="2350" actId="2696"/>
        <pc:sldMkLst>
          <pc:docMk/>
          <pc:sldMk cId="1622154538" sldId="602"/>
        </pc:sldMkLst>
      </pc:sldChg>
      <pc:sldChg chg="ord">
        <pc:chgData name="Perez Diaz, Karen" userId="17027623-4de6-4c48-9453-394c2c5804f8" providerId="ADAL" clId="{0DCB131B-3EFE-42DC-9206-7151797C1B48}" dt="2021-01-06T21:53:23.464" v="2352"/>
        <pc:sldMkLst>
          <pc:docMk/>
          <pc:sldMk cId="1158267310" sldId="722"/>
        </pc:sldMkLst>
      </pc:sldChg>
      <pc:sldChg chg="modSp">
        <pc:chgData name="Perez Diaz, Karen" userId="17027623-4de6-4c48-9453-394c2c5804f8" providerId="ADAL" clId="{0DCB131B-3EFE-42DC-9206-7151797C1B48}" dt="2021-01-07T19:14:51.188" v="2362" actId="6549"/>
        <pc:sldMkLst>
          <pc:docMk/>
          <pc:sldMk cId="3197154609" sldId="736"/>
        </pc:sldMkLst>
        <pc:spChg chg="mod">
          <ac:chgData name="Perez Diaz, Karen" userId="17027623-4de6-4c48-9453-394c2c5804f8" providerId="ADAL" clId="{0DCB131B-3EFE-42DC-9206-7151797C1B48}" dt="2021-01-07T19:14:51.188" v="2362" actId="6549"/>
          <ac:spMkLst>
            <pc:docMk/>
            <pc:sldMk cId="3197154609" sldId="736"/>
            <ac:spMk id="2" creationId="{FE1208AD-B065-42AE-BC44-9C064C83105A}"/>
          </ac:spMkLst>
        </pc:spChg>
      </pc:sldChg>
      <pc:sldChg chg="delSp">
        <pc:chgData name="Perez Diaz, Karen" userId="17027623-4de6-4c48-9453-394c2c5804f8" providerId="ADAL" clId="{0DCB131B-3EFE-42DC-9206-7151797C1B48}" dt="2021-01-06T21:48:52.059" v="2292" actId="478"/>
        <pc:sldMkLst>
          <pc:docMk/>
          <pc:sldMk cId="1285900942" sldId="737"/>
        </pc:sldMkLst>
        <pc:spChg chg="del">
          <ac:chgData name="Perez Diaz, Karen" userId="17027623-4de6-4c48-9453-394c2c5804f8" providerId="ADAL" clId="{0DCB131B-3EFE-42DC-9206-7151797C1B48}" dt="2021-01-06T21:48:52.059" v="2292" actId="478"/>
          <ac:spMkLst>
            <pc:docMk/>
            <pc:sldMk cId="1285900942" sldId="737"/>
            <ac:spMk id="16" creationId="{00000000-0000-0000-0000-000000000000}"/>
          </ac:spMkLst>
        </pc:spChg>
      </pc:sldChg>
      <pc:sldChg chg="delSp">
        <pc:chgData name="Perez Diaz, Karen" userId="17027623-4de6-4c48-9453-394c2c5804f8" providerId="ADAL" clId="{0DCB131B-3EFE-42DC-9206-7151797C1B48}" dt="2021-01-06T21:48:54.762" v="2293" actId="478"/>
        <pc:sldMkLst>
          <pc:docMk/>
          <pc:sldMk cId="3216517808" sldId="738"/>
        </pc:sldMkLst>
        <pc:spChg chg="del">
          <ac:chgData name="Perez Diaz, Karen" userId="17027623-4de6-4c48-9453-394c2c5804f8" providerId="ADAL" clId="{0DCB131B-3EFE-42DC-9206-7151797C1B48}" dt="2021-01-06T21:48:54.762" v="2293" actId="478"/>
          <ac:spMkLst>
            <pc:docMk/>
            <pc:sldMk cId="3216517808" sldId="738"/>
            <ac:spMk id="27" creationId="{00000000-0000-0000-0000-000000000000}"/>
          </ac:spMkLst>
        </pc:spChg>
      </pc:sldChg>
      <pc:sldChg chg="addSp delSp modSp">
        <pc:chgData name="Perez Diaz, Karen" userId="17027623-4de6-4c48-9453-394c2c5804f8" providerId="ADAL" clId="{0DCB131B-3EFE-42DC-9206-7151797C1B48}" dt="2021-01-06T21:49:20.459" v="2296" actId="1036"/>
        <pc:sldMkLst>
          <pc:docMk/>
          <pc:sldMk cId="881379272" sldId="742"/>
        </pc:sldMkLst>
        <pc:spChg chg="mod">
          <ac:chgData name="Perez Diaz, Karen" userId="17027623-4de6-4c48-9453-394c2c5804f8" providerId="ADAL" clId="{0DCB131B-3EFE-42DC-9206-7151797C1B48}" dt="2021-01-06T20:53:15.308" v="1033" actId="164"/>
          <ac:spMkLst>
            <pc:docMk/>
            <pc:sldMk cId="881379272" sldId="742"/>
            <ac:spMk id="16" creationId="{0A6DB9FC-2790-49F5-96BC-671A635F376F}"/>
          </ac:spMkLst>
        </pc:spChg>
        <pc:spChg chg="mod">
          <ac:chgData name="Perez Diaz, Karen" userId="17027623-4de6-4c48-9453-394c2c5804f8" providerId="ADAL" clId="{0DCB131B-3EFE-42DC-9206-7151797C1B48}" dt="2021-01-06T20:53:15.308" v="1033" actId="164"/>
          <ac:spMkLst>
            <pc:docMk/>
            <pc:sldMk cId="881379272" sldId="742"/>
            <ac:spMk id="32" creationId="{C23CAF40-5081-4672-BB4F-CE5D10092D0A}"/>
          </ac:spMkLst>
        </pc:spChg>
        <pc:spChg chg="mod">
          <ac:chgData name="Perez Diaz, Karen" userId="17027623-4de6-4c48-9453-394c2c5804f8" providerId="ADAL" clId="{0DCB131B-3EFE-42DC-9206-7151797C1B48}" dt="2021-01-06T20:53:15.308" v="1033" actId="164"/>
          <ac:spMkLst>
            <pc:docMk/>
            <pc:sldMk cId="881379272" sldId="742"/>
            <ac:spMk id="33" creationId="{EA2C1C74-8715-4291-B19D-B1A652C9088A}"/>
          </ac:spMkLst>
        </pc:spChg>
        <pc:spChg chg="mod">
          <ac:chgData name="Perez Diaz, Karen" userId="17027623-4de6-4c48-9453-394c2c5804f8" providerId="ADAL" clId="{0DCB131B-3EFE-42DC-9206-7151797C1B48}" dt="2021-01-06T20:53:15.308" v="1033" actId="164"/>
          <ac:spMkLst>
            <pc:docMk/>
            <pc:sldMk cId="881379272" sldId="742"/>
            <ac:spMk id="34" creationId="{382E8A01-BEF3-48DC-8ADF-624A68CB482B}"/>
          </ac:spMkLst>
        </pc:spChg>
        <pc:spChg chg="mod">
          <ac:chgData name="Perez Diaz, Karen" userId="17027623-4de6-4c48-9453-394c2c5804f8" providerId="ADAL" clId="{0DCB131B-3EFE-42DC-9206-7151797C1B48}" dt="2021-01-06T21:47:45.588" v="2283" actId="1036"/>
          <ac:spMkLst>
            <pc:docMk/>
            <pc:sldMk cId="881379272" sldId="742"/>
            <ac:spMk id="36" creationId="{B1C07FB1-E4F7-46B0-9153-B6C0A2878CC2}"/>
          </ac:spMkLst>
        </pc:spChg>
        <pc:spChg chg="mod">
          <ac:chgData name="Perez Diaz, Karen" userId="17027623-4de6-4c48-9453-394c2c5804f8" providerId="ADAL" clId="{0DCB131B-3EFE-42DC-9206-7151797C1B48}" dt="2021-01-06T20:53:15.308" v="1033" actId="164"/>
          <ac:spMkLst>
            <pc:docMk/>
            <pc:sldMk cId="881379272" sldId="742"/>
            <ac:spMk id="45" creationId="{3343FEFB-7C1D-4798-BA26-F401C7045C50}"/>
          </ac:spMkLst>
        </pc:spChg>
        <pc:spChg chg="add mod ord">
          <ac:chgData name="Perez Diaz, Karen" userId="17027623-4de6-4c48-9453-394c2c5804f8" providerId="ADAL" clId="{0DCB131B-3EFE-42DC-9206-7151797C1B48}" dt="2021-01-06T20:53:15.308" v="1033" actId="164"/>
          <ac:spMkLst>
            <pc:docMk/>
            <pc:sldMk cId="881379272" sldId="742"/>
            <ac:spMk id="50" creationId="{75207217-91AF-4E8B-A9E8-A32EC790D29A}"/>
          </ac:spMkLst>
        </pc:spChg>
        <pc:spChg chg="add mod">
          <ac:chgData name="Perez Diaz, Karen" userId="17027623-4de6-4c48-9453-394c2c5804f8" providerId="ADAL" clId="{0DCB131B-3EFE-42DC-9206-7151797C1B48}" dt="2021-01-06T21:49:20.459" v="2296" actId="1036"/>
          <ac:spMkLst>
            <pc:docMk/>
            <pc:sldMk cId="881379272" sldId="742"/>
            <ac:spMk id="51" creationId="{7C2DA789-4AEE-438D-B6B0-82E1F6EC2C72}"/>
          </ac:spMkLst>
        </pc:spChg>
        <pc:spChg chg="mod">
          <ac:chgData name="Perez Diaz, Karen" userId="17027623-4de6-4c48-9453-394c2c5804f8" providerId="ADAL" clId="{0DCB131B-3EFE-42DC-9206-7151797C1B48}" dt="2021-01-06T21:45:26.644" v="2264" actId="113"/>
          <ac:spMkLst>
            <pc:docMk/>
            <pc:sldMk cId="881379272" sldId="742"/>
            <ac:spMk id="69" creationId="{D660A072-DFBB-4936-95BF-01DEE4F7CF2D}"/>
          </ac:spMkLst>
        </pc:spChg>
        <pc:grpChg chg="add mod">
          <ac:chgData name="Perez Diaz, Karen" userId="17027623-4de6-4c48-9453-394c2c5804f8" providerId="ADAL" clId="{0DCB131B-3EFE-42DC-9206-7151797C1B48}" dt="2021-01-06T20:53:21.923" v="1047" actId="1035"/>
          <ac:grpSpMkLst>
            <pc:docMk/>
            <pc:sldMk cId="881379272" sldId="742"/>
            <ac:grpSpMk id="21" creationId="{9D6DA8C5-2116-432C-BA28-25EE6D29583D}"/>
          </ac:grpSpMkLst>
        </pc:grpChg>
        <pc:grpChg chg="mod">
          <ac:chgData name="Perez Diaz, Karen" userId="17027623-4de6-4c48-9453-394c2c5804f8" providerId="ADAL" clId="{0DCB131B-3EFE-42DC-9206-7151797C1B48}" dt="2021-01-06T20:53:15.308" v="1033" actId="164"/>
          <ac:grpSpMkLst>
            <pc:docMk/>
            <pc:sldMk cId="881379272" sldId="742"/>
            <ac:grpSpMk id="26" creationId="{899AB3C6-D04B-467B-80AD-71290C5FD607}"/>
          </ac:grpSpMkLst>
        </pc:grpChg>
        <pc:grpChg chg="mod">
          <ac:chgData name="Perez Diaz, Karen" userId="17027623-4de6-4c48-9453-394c2c5804f8" providerId="ADAL" clId="{0DCB131B-3EFE-42DC-9206-7151797C1B48}" dt="2021-01-06T20:53:15.308" v="1033" actId="164"/>
          <ac:grpSpMkLst>
            <pc:docMk/>
            <pc:sldMk cId="881379272" sldId="742"/>
            <ac:grpSpMk id="59" creationId="{C41B3DFB-F3AE-4D87-9B8C-C3589EDBC3BF}"/>
          </ac:grpSpMkLst>
        </pc:grpChg>
        <pc:cxnChg chg="mod">
          <ac:chgData name="Perez Diaz, Karen" userId="17027623-4de6-4c48-9453-394c2c5804f8" providerId="ADAL" clId="{0DCB131B-3EFE-42DC-9206-7151797C1B48}" dt="2021-01-06T20:53:21.923" v="1047" actId="1035"/>
          <ac:cxnSpMkLst>
            <pc:docMk/>
            <pc:sldMk cId="881379272" sldId="742"/>
            <ac:cxnSpMk id="38" creationId="{7F2776A2-55FA-4901-8D56-61F7EDBF5378}"/>
          </ac:cxnSpMkLst>
        </pc:cxnChg>
        <pc:cxnChg chg="mod">
          <ac:chgData name="Perez Diaz, Karen" userId="17027623-4de6-4c48-9453-394c2c5804f8" providerId="ADAL" clId="{0DCB131B-3EFE-42DC-9206-7151797C1B48}" dt="2021-01-06T20:41:59.835" v="914" actId="14100"/>
          <ac:cxnSpMkLst>
            <pc:docMk/>
            <pc:sldMk cId="881379272" sldId="742"/>
            <ac:cxnSpMk id="40" creationId="{41BF7768-DCB4-4368-9877-C2C93FF91055}"/>
          </ac:cxnSpMkLst>
        </pc:cxnChg>
        <pc:cxnChg chg="mod">
          <ac:chgData name="Perez Diaz, Karen" userId="17027623-4de6-4c48-9453-394c2c5804f8" providerId="ADAL" clId="{0DCB131B-3EFE-42DC-9206-7151797C1B48}" dt="2021-01-06T20:42:03.459" v="915" actId="14100"/>
          <ac:cxnSpMkLst>
            <pc:docMk/>
            <pc:sldMk cId="881379272" sldId="742"/>
            <ac:cxnSpMk id="42" creationId="{3D295E1E-2075-4B22-857E-FD03C60F7025}"/>
          </ac:cxnSpMkLst>
        </pc:cxnChg>
        <pc:cxnChg chg="del mod">
          <ac:chgData name="Perez Diaz, Karen" userId="17027623-4de6-4c48-9453-394c2c5804f8" providerId="ADAL" clId="{0DCB131B-3EFE-42DC-9206-7151797C1B48}" dt="2021-01-06T20:52:11.222" v="1014" actId="478"/>
          <ac:cxnSpMkLst>
            <pc:docMk/>
            <pc:sldMk cId="881379272" sldId="742"/>
            <ac:cxnSpMk id="44" creationId="{687E4B6D-A892-4E39-B6A9-A12D460436C1}"/>
          </ac:cxnSpMkLst>
        </pc:cxnChg>
        <pc:cxnChg chg="mod">
          <ac:chgData name="Perez Diaz, Karen" userId="17027623-4de6-4c48-9453-394c2c5804f8" providerId="ADAL" clId="{0DCB131B-3EFE-42DC-9206-7151797C1B48}" dt="2021-01-06T20:53:21.923" v="1047" actId="1035"/>
          <ac:cxnSpMkLst>
            <pc:docMk/>
            <pc:sldMk cId="881379272" sldId="742"/>
            <ac:cxnSpMk id="47" creationId="{027D99D2-D61F-43DD-88D9-A764AB3F4C74}"/>
          </ac:cxnSpMkLst>
        </pc:cxnChg>
        <pc:cxnChg chg="mod">
          <ac:chgData name="Perez Diaz, Karen" userId="17027623-4de6-4c48-9453-394c2c5804f8" providerId="ADAL" clId="{0DCB131B-3EFE-42DC-9206-7151797C1B48}" dt="2021-01-06T20:42:11.522" v="917" actId="14100"/>
          <ac:cxnSpMkLst>
            <pc:docMk/>
            <pc:sldMk cId="881379272" sldId="742"/>
            <ac:cxnSpMk id="49" creationId="{EB1E3269-08BD-4913-A0C9-43F30A56D799}"/>
          </ac:cxnSpMkLst>
        </pc:cxnChg>
        <pc:cxnChg chg="mod">
          <ac:chgData name="Perez Diaz, Karen" userId="17027623-4de6-4c48-9453-394c2c5804f8" providerId="ADAL" clId="{0DCB131B-3EFE-42DC-9206-7151797C1B48}" dt="2021-01-06T20:53:21.923" v="1047" actId="1035"/>
          <ac:cxnSpMkLst>
            <pc:docMk/>
            <pc:sldMk cId="881379272" sldId="742"/>
            <ac:cxnSpMk id="52" creationId="{9A801628-898B-4840-8337-E3F4FCEE2F10}"/>
          </ac:cxnSpMkLst>
        </pc:cxnChg>
        <pc:cxnChg chg="add del">
          <ac:chgData name="Perez Diaz, Karen" userId="17027623-4de6-4c48-9453-394c2c5804f8" providerId="ADAL" clId="{0DCB131B-3EFE-42DC-9206-7151797C1B48}" dt="2021-01-06T20:52:09.854" v="1013"/>
          <ac:cxnSpMkLst>
            <pc:docMk/>
            <pc:sldMk cId="881379272" sldId="742"/>
            <ac:cxnSpMk id="56" creationId="{F10C1885-EB43-4265-966A-158676737046}"/>
          </ac:cxnSpMkLst>
        </pc:cxnChg>
        <pc:cxnChg chg="add del mod">
          <ac:chgData name="Perez Diaz, Karen" userId="17027623-4de6-4c48-9453-394c2c5804f8" providerId="ADAL" clId="{0DCB131B-3EFE-42DC-9206-7151797C1B48}" dt="2021-01-06T20:52:36.532" v="1026" actId="478"/>
          <ac:cxnSpMkLst>
            <pc:docMk/>
            <pc:sldMk cId="881379272" sldId="742"/>
            <ac:cxnSpMk id="57" creationId="{D62A5F40-9022-48CD-95DE-231FE1D00964}"/>
          </ac:cxnSpMkLst>
        </pc:cxnChg>
        <pc:cxnChg chg="add">
          <ac:chgData name="Perez Diaz, Karen" userId="17027623-4de6-4c48-9453-394c2c5804f8" providerId="ADAL" clId="{0DCB131B-3EFE-42DC-9206-7151797C1B48}" dt="2021-01-06T20:52:36.804" v="1027"/>
          <ac:cxnSpMkLst>
            <pc:docMk/>
            <pc:sldMk cId="881379272" sldId="742"/>
            <ac:cxnSpMk id="58" creationId="{61486903-F490-4189-A8DE-CBD91F459B18}"/>
          </ac:cxnSpMkLst>
        </pc:cxnChg>
        <pc:cxnChg chg="mod">
          <ac:chgData name="Perez Diaz, Karen" userId="17027623-4de6-4c48-9453-394c2c5804f8" providerId="ADAL" clId="{0DCB131B-3EFE-42DC-9206-7151797C1B48}" dt="2021-01-06T20:42:07.357" v="916" actId="14100"/>
          <ac:cxnSpMkLst>
            <pc:docMk/>
            <pc:sldMk cId="881379272" sldId="742"/>
            <ac:cxnSpMk id="67" creationId="{BCC689C9-66DC-4DAB-980A-751E46C8B338}"/>
          </ac:cxnSpMkLst>
        </pc:cxnChg>
        <pc:cxnChg chg="mod">
          <ac:chgData name="Perez Diaz, Karen" userId="17027623-4de6-4c48-9453-394c2c5804f8" providerId="ADAL" clId="{0DCB131B-3EFE-42DC-9206-7151797C1B48}" dt="2021-01-06T20:53:21.923" v="1047" actId="1035"/>
          <ac:cxnSpMkLst>
            <pc:docMk/>
            <pc:sldMk cId="881379272" sldId="742"/>
            <ac:cxnSpMk id="170" creationId="{22C87227-5D49-40A2-A3BC-8592EC3CD579}"/>
          </ac:cxnSpMkLst>
        </pc:cxnChg>
      </pc:sldChg>
      <pc:sldChg chg="addSp delSp modSp add del">
        <pc:chgData name="Perez Diaz, Karen" userId="17027623-4de6-4c48-9453-394c2c5804f8" providerId="ADAL" clId="{0DCB131B-3EFE-42DC-9206-7151797C1B48}" dt="2021-01-06T21:44:45.712" v="2260" actId="2696"/>
        <pc:sldMkLst>
          <pc:docMk/>
          <pc:sldMk cId="3913551135" sldId="743"/>
        </pc:sldMkLst>
        <pc:spChg chg="mod topLvl">
          <ac:chgData name="Perez Diaz, Karen" userId="17027623-4de6-4c48-9453-394c2c5804f8" providerId="ADAL" clId="{0DCB131B-3EFE-42DC-9206-7151797C1B48}" dt="2021-01-06T21:25:20.150" v="1973" actId="164"/>
          <ac:spMkLst>
            <pc:docMk/>
            <pc:sldMk cId="3913551135" sldId="743"/>
            <ac:spMk id="16" creationId="{0A6DB9FC-2790-49F5-96BC-671A635F376F}"/>
          </ac:spMkLst>
        </pc:spChg>
        <pc:spChg chg="mod topLvl">
          <ac:chgData name="Perez Diaz, Karen" userId="17027623-4de6-4c48-9453-394c2c5804f8" providerId="ADAL" clId="{0DCB131B-3EFE-42DC-9206-7151797C1B48}" dt="2021-01-06T21:25:20.150" v="1973" actId="164"/>
          <ac:spMkLst>
            <pc:docMk/>
            <pc:sldMk cId="3913551135" sldId="743"/>
            <ac:spMk id="32" creationId="{C23CAF40-5081-4672-BB4F-CE5D10092D0A}"/>
          </ac:spMkLst>
        </pc:spChg>
        <pc:spChg chg="mod topLvl">
          <ac:chgData name="Perez Diaz, Karen" userId="17027623-4de6-4c48-9453-394c2c5804f8" providerId="ADAL" clId="{0DCB131B-3EFE-42DC-9206-7151797C1B48}" dt="2021-01-06T21:25:20.150" v="1973" actId="164"/>
          <ac:spMkLst>
            <pc:docMk/>
            <pc:sldMk cId="3913551135" sldId="743"/>
            <ac:spMk id="33" creationId="{EA2C1C74-8715-4291-B19D-B1A652C9088A}"/>
          </ac:spMkLst>
        </pc:spChg>
        <pc:spChg chg="mod topLvl">
          <ac:chgData name="Perez Diaz, Karen" userId="17027623-4de6-4c48-9453-394c2c5804f8" providerId="ADAL" clId="{0DCB131B-3EFE-42DC-9206-7151797C1B48}" dt="2021-01-06T21:25:20.150" v="1973" actId="164"/>
          <ac:spMkLst>
            <pc:docMk/>
            <pc:sldMk cId="3913551135" sldId="743"/>
            <ac:spMk id="34" creationId="{382E8A01-BEF3-48DC-8ADF-624A68CB482B}"/>
          </ac:spMkLst>
        </pc:spChg>
        <pc:spChg chg="mod topLvl">
          <ac:chgData name="Perez Diaz, Karen" userId="17027623-4de6-4c48-9453-394c2c5804f8" providerId="ADAL" clId="{0DCB131B-3EFE-42DC-9206-7151797C1B48}" dt="2021-01-06T21:25:20.150" v="1973" actId="164"/>
          <ac:spMkLst>
            <pc:docMk/>
            <pc:sldMk cId="3913551135" sldId="743"/>
            <ac:spMk id="45" creationId="{3343FEFB-7C1D-4798-BA26-F401C7045C50}"/>
          </ac:spMkLst>
        </pc:spChg>
        <pc:spChg chg="mod topLvl">
          <ac:chgData name="Perez Diaz, Karen" userId="17027623-4de6-4c48-9453-394c2c5804f8" providerId="ADAL" clId="{0DCB131B-3EFE-42DC-9206-7151797C1B48}" dt="2021-01-06T21:25:20.150" v="1973" actId="164"/>
          <ac:spMkLst>
            <pc:docMk/>
            <pc:sldMk cId="3913551135" sldId="743"/>
            <ac:spMk id="69" creationId="{D660A072-DFBB-4936-95BF-01DEE4F7CF2D}"/>
          </ac:spMkLst>
        </pc:spChg>
        <pc:spChg chg="add mod ord">
          <ac:chgData name="Perez Diaz, Karen" userId="17027623-4de6-4c48-9453-394c2c5804f8" providerId="ADAL" clId="{0DCB131B-3EFE-42DC-9206-7151797C1B48}" dt="2021-01-06T21:25:20.150" v="1973" actId="164"/>
          <ac:spMkLst>
            <pc:docMk/>
            <pc:sldMk cId="3913551135" sldId="743"/>
            <ac:spMk id="73" creationId="{C91975A5-4885-4F6A-839E-6E6A909F4168}"/>
          </ac:spMkLst>
        </pc:spChg>
        <pc:spChg chg="add mod ord">
          <ac:chgData name="Perez Diaz, Karen" userId="17027623-4de6-4c48-9453-394c2c5804f8" providerId="ADAL" clId="{0DCB131B-3EFE-42DC-9206-7151797C1B48}" dt="2021-01-06T21:25:20.150" v="1973" actId="164"/>
          <ac:spMkLst>
            <pc:docMk/>
            <pc:sldMk cId="3913551135" sldId="743"/>
            <ac:spMk id="76" creationId="{EC2A5AEB-1430-4C47-B573-A7303DCEA583}"/>
          </ac:spMkLst>
        </pc:spChg>
        <pc:spChg chg="del">
          <ac:chgData name="Perez Diaz, Karen" userId="17027623-4de6-4c48-9453-394c2c5804f8" providerId="ADAL" clId="{0DCB131B-3EFE-42DC-9206-7151797C1B48}" dt="2021-01-06T20:49:01.041" v="919" actId="478"/>
          <ac:spMkLst>
            <pc:docMk/>
            <pc:sldMk cId="3913551135" sldId="743"/>
            <ac:spMk id="104" creationId="{D7DBCDAE-E439-4C13-AB0B-B49695AB8EC9}"/>
          </ac:spMkLst>
        </pc:spChg>
        <pc:spChg chg="mod">
          <ac:chgData name="Perez Diaz, Karen" userId="17027623-4de6-4c48-9453-394c2c5804f8" providerId="ADAL" clId="{0DCB131B-3EFE-42DC-9206-7151797C1B48}" dt="2021-01-06T20:51:02.776" v="997" actId="1037"/>
          <ac:spMkLst>
            <pc:docMk/>
            <pc:sldMk cId="3913551135" sldId="743"/>
            <ac:spMk id="111" creationId="{BFE84C98-41FA-487B-9228-92CF6F468B5E}"/>
          </ac:spMkLst>
        </pc:spChg>
        <pc:spChg chg="mod">
          <ac:chgData name="Perez Diaz, Karen" userId="17027623-4de6-4c48-9453-394c2c5804f8" providerId="ADAL" clId="{0DCB131B-3EFE-42DC-9206-7151797C1B48}" dt="2021-01-06T20:51:02.776" v="997" actId="1037"/>
          <ac:spMkLst>
            <pc:docMk/>
            <pc:sldMk cId="3913551135" sldId="743"/>
            <ac:spMk id="118" creationId="{42752276-35F2-4455-B23C-6798F26C5A7A}"/>
          </ac:spMkLst>
        </pc:spChg>
        <pc:spChg chg="del">
          <ac:chgData name="Perez Diaz, Karen" userId="17027623-4de6-4c48-9453-394c2c5804f8" providerId="ADAL" clId="{0DCB131B-3EFE-42DC-9206-7151797C1B48}" dt="2021-01-06T20:49:04.412" v="920" actId="478"/>
          <ac:spMkLst>
            <pc:docMk/>
            <pc:sldMk cId="3913551135" sldId="743"/>
            <ac:spMk id="128" creationId="{1ABDDCE4-637E-40FD-BC59-07FA39387FA6}"/>
          </ac:spMkLst>
        </pc:spChg>
        <pc:grpChg chg="add del mod">
          <ac:chgData name="Perez Diaz, Karen" userId="17027623-4de6-4c48-9453-394c2c5804f8" providerId="ADAL" clId="{0DCB131B-3EFE-42DC-9206-7151797C1B48}" dt="2021-01-06T21:13:02.107" v="1168" actId="165"/>
          <ac:grpSpMkLst>
            <pc:docMk/>
            <pc:sldMk cId="3913551135" sldId="743"/>
            <ac:grpSpMk id="28" creationId="{5CEE5DF2-4846-49B8-B28E-70C972173D47}"/>
          </ac:grpSpMkLst>
        </pc:grpChg>
        <pc:grpChg chg="add mod">
          <ac:chgData name="Perez Diaz, Karen" userId="17027623-4de6-4c48-9453-394c2c5804f8" providerId="ADAL" clId="{0DCB131B-3EFE-42DC-9206-7151797C1B48}" dt="2021-01-06T21:25:20.150" v="1973" actId="164"/>
          <ac:grpSpMkLst>
            <pc:docMk/>
            <pc:sldMk cId="3913551135" sldId="743"/>
            <ac:grpSpMk id="39" creationId="{862329FD-D69F-4A5E-86CA-DBA09BB764F2}"/>
          </ac:grpSpMkLst>
        </pc:grpChg>
        <pc:grpChg chg="mod topLvl">
          <ac:chgData name="Perez Diaz, Karen" userId="17027623-4de6-4c48-9453-394c2c5804f8" providerId="ADAL" clId="{0DCB131B-3EFE-42DC-9206-7151797C1B48}" dt="2021-01-06T21:25:20.150" v="1973" actId="164"/>
          <ac:grpSpMkLst>
            <pc:docMk/>
            <pc:sldMk cId="3913551135" sldId="743"/>
            <ac:grpSpMk id="59" creationId="{C41B3DFB-F3AE-4D87-9B8C-C3589EDBC3BF}"/>
          </ac:grpSpMkLst>
        </pc:grpChg>
        <pc:grpChg chg="mod topLvl">
          <ac:chgData name="Perez Diaz, Karen" userId="17027623-4de6-4c48-9453-394c2c5804f8" providerId="ADAL" clId="{0DCB131B-3EFE-42DC-9206-7151797C1B48}" dt="2021-01-06T21:25:20.150" v="1973" actId="164"/>
          <ac:grpSpMkLst>
            <pc:docMk/>
            <pc:sldMk cId="3913551135" sldId="743"/>
            <ac:grpSpMk id="78" creationId="{3E8A4C4F-A5DA-49C4-926F-AEA5802E73DA}"/>
          </ac:grpSpMkLst>
        </pc:grpChg>
        <pc:cxnChg chg="mod topLvl">
          <ac:chgData name="Perez Diaz, Karen" userId="17027623-4de6-4c48-9453-394c2c5804f8" providerId="ADAL" clId="{0DCB131B-3EFE-42DC-9206-7151797C1B48}" dt="2021-01-06T21:25:20.150" v="1973" actId="164"/>
          <ac:cxnSpMkLst>
            <pc:docMk/>
            <pc:sldMk cId="3913551135" sldId="743"/>
            <ac:cxnSpMk id="38" creationId="{7F2776A2-55FA-4901-8D56-61F7EDBF5378}"/>
          </ac:cxnSpMkLst>
        </pc:cxnChg>
        <pc:cxnChg chg="mod">
          <ac:chgData name="Perez Diaz, Karen" userId="17027623-4de6-4c48-9453-394c2c5804f8" providerId="ADAL" clId="{0DCB131B-3EFE-42DC-9206-7151797C1B48}" dt="2021-01-06T20:49:39.411" v="944" actId="14100"/>
          <ac:cxnSpMkLst>
            <pc:docMk/>
            <pc:sldMk cId="3913551135" sldId="743"/>
            <ac:cxnSpMk id="40" creationId="{41BF7768-DCB4-4368-9877-C2C93FF91055}"/>
          </ac:cxnSpMkLst>
        </pc:cxnChg>
        <pc:cxnChg chg="mod">
          <ac:chgData name="Perez Diaz, Karen" userId="17027623-4de6-4c48-9453-394c2c5804f8" providerId="ADAL" clId="{0DCB131B-3EFE-42DC-9206-7151797C1B48}" dt="2021-01-06T20:49:44.112" v="945" actId="14100"/>
          <ac:cxnSpMkLst>
            <pc:docMk/>
            <pc:sldMk cId="3913551135" sldId="743"/>
            <ac:cxnSpMk id="42" creationId="{3D295E1E-2075-4B22-857E-FD03C60F7025}"/>
          </ac:cxnSpMkLst>
        </pc:cxnChg>
        <pc:cxnChg chg="mod topLvl">
          <ac:chgData name="Perez Diaz, Karen" userId="17027623-4de6-4c48-9453-394c2c5804f8" providerId="ADAL" clId="{0DCB131B-3EFE-42DC-9206-7151797C1B48}" dt="2021-01-06T21:25:20.150" v="1973" actId="164"/>
          <ac:cxnSpMkLst>
            <pc:docMk/>
            <pc:sldMk cId="3913551135" sldId="743"/>
            <ac:cxnSpMk id="47" creationId="{027D99D2-D61F-43DD-88D9-A764AB3F4C74}"/>
          </ac:cxnSpMkLst>
        </pc:cxnChg>
        <pc:cxnChg chg="mod">
          <ac:chgData name="Perez Diaz, Karen" userId="17027623-4de6-4c48-9453-394c2c5804f8" providerId="ADAL" clId="{0DCB131B-3EFE-42DC-9206-7151797C1B48}" dt="2021-01-06T20:50:02.363" v="957" actId="14100"/>
          <ac:cxnSpMkLst>
            <pc:docMk/>
            <pc:sldMk cId="3913551135" sldId="743"/>
            <ac:cxnSpMk id="49" creationId="{EB1E3269-08BD-4913-A0C9-43F30A56D799}"/>
          </ac:cxnSpMkLst>
        </pc:cxnChg>
        <pc:cxnChg chg="mod topLvl">
          <ac:chgData name="Perez Diaz, Karen" userId="17027623-4de6-4c48-9453-394c2c5804f8" providerId="ADAL" clId="{0DCB131B-3EFE-42DC-9206-7151797C1B48}" dt="2021-01-06T21:25:20.150" v="1973" actId="164"/>
          <ac:cxnSpMkLst>
            <pc:docMk/>
            <pc:sldMk cId="3913551135" sldId="743"/>
            <ac:cxnSpMk id="52" creationId="{9A801628-898B-4840-8337-E3F4FCEE2F10}"/>
          </ac:cxnSpMkLst>
        </pc:cxnChg>
        <pc:cxnChg chg="mod">
          <ac:chgData name="Perez Diaz, Karen" userId="17027623-4de6-4c48-9453-394c2c5804f8" providerId="ADAL" clId="{0DCB131B-3EFE-42DC-9206-7151797C1B48}" dt="2021-01-06T20:49:48.699" v="946" actId="14100"/>
          <ac:cxnSpMkLst>
            <pc:docMk/>
            <pc:sldMk cId="3913551135" sldId="743"/>
            <ac:cxnSpMk id="67" creationId="{BCC689C9-66DC-4DAB-980A-751E46C8B338}"/>
          </ac:cxnSpMkLst>
        </pc:cxnChg>
        <pc:cxnChg chg="add mod">
          <ac:chgData name="Perez Diaz, Karen" userId="17027623-4de6-4c48-9453-394c2c5804f8" providerId="ADAL" clId="{0DCB131B-3EFE-42DC-9206-7151797C1B48}" dt="2021-01-06T21:13:23.029" v="1171" actId="14100"/>
          <ac:cxnSpMkLst>
            <pc:docMk/>
            <pc:sldMk cId="3913551135" sldId="743"/>
            <ac:cxnSpMk id="88" creationId="{340277E7-77D7-44C4-8A6D-9E9B39940C01}"/>
          </ac:cxnSpMkLst>
        </pc:cxnChg>
        <pc:cxnChg chg="add mod">
          <ac:chgData name="Perez Diaz, Karen" userId="17027623-4de6-4c48-9453-394c2c5804f8" providerId="ADAL" clId="{0DCB131B-3EFE-42DC-9206-7151797C1B48}" dt="2021-01-06T21:13:23.029" v="1171" actId="14100"/>
          <ac:cxnSpMkLst>
            <pc:docMk/>
            <pc:sldMk cId="3913551135" sldId="743"/>
            <ac:cxnSpMk id="89" creationId="{2088E9D5-45B7-48FD-AA95-CBCCB9AEE078}"/>
          </ac:cxnSpMkLst>
        </pc:cxnChg>
        <pc:cxnChg chg="add mod">
          <ac:chgData name="Perez Diaz, Karen" userId="17027623-4de6-4c48-9453-394c2c5804f8" providerId="ADAL" clId="{0DCB131B-3EFE-42DC-9206-7151797C1B48}" dt="2021-01-06T21:13:23.029" v="1171" actId="14100"/>
          <ac:cxnSpMkLst>
            <pc:docMk/>
            <pc:sldMk cId="3913551135" sldId="743"/>
            <ac:cxnSpMk id="90" creationId="{B034C546-F845-44E2-9AAA-B2FDEB6000F0}"/>
          </ac:cxnSpMkLst>
        </pc:cxnChg>
        <pc:cxnChg chg="add mod">
          <ac:chgData name="Perez Diaz, Karen" userId="17027623-4de6-4c48-9453-394c2c5804f8" providerId="ADAL" clId="{0DCB131B-3EFE-42DC-9206-7151797C1B48}" dt="2021-01-06T21:13:23.029" v="1171" actId="14100"/>
          <ac:cxnSpMkLst>
            <pc:docMk/>
            <pc:sldMk cId="3913551135" sldId="743"/>
            <ac:cxnSpMk id="91" creationId="{0C8B1F21-6E44-4282-80CB-A481070041F3}"/>
          </ac:cxnSpMkLst>
        </pc:cxnChg>
        <pc:cxnChg chg="mod">
          <ac:chgData name="Perez Diaz, Karen" userId="17027623-4de6-4c48-9453-394c2c5804f8" providerId="ADAL" clId="{0DCB131B-3EFE-42DC-9206-7151797C1B48}" dt="2021-01-06T20:52:31.746" v="1025" actId="14100"/>
          <ac:cxnSpMkLst>
            <pc:docMk/>
            <pc:sldMk cId="3913551135" sldId="743"/>
            <ac:cxnSpMk id="127" creationId="{70FC9D0E-23B7-4805-9408-10A2CC1928CB}"/>
          </ac:cxnSpMkLst>
        </pc:cxnChg>
        <pc:cxnChg chg="del mod">
          <ac:chgData name="Perez Diaz, Karen" userId="17027623-4de6-4c48-9453-394c2c5804f8" providerId="ADAL" clId="{0DCB131B-3EFE-42DC-9206-7151797C1B48}" dt="2021-01-06T20:49:06.216" v="921" actId="478"/>
          <ac:cxnSpMkLst>
            <pc:docMk/>
            <pc:sldMk cId="3913551135" sldId="743"/>
            <ac:cxnSpMk id="151" creationId="{DDBE657C-AC66-455B-8C66-456C193C55A9}"/>
          </ac:cxnSpMkLst>
        </pc:cxnChg>
        <pc:cxnChg chg="mod">
          <ac:chgData name="Perez Diaz, Karen" userId="17027623-4de6-4c48-9453-394c2c5804f8" providerId="ADAL" clId="{0DCB131B-3EFE-42DC-9206-7151797C1B48}" dt="2021-01-06T20:50:56.206" v="990" actId="14100"/>
          <ac:cxnSpMkLst>
            <pc:docMk/>
            <pc:sldMk cId="3913551135" sldId="743"/>
            <ac:cxnSpMk id="154" creationId="{B8C55DC1-E75A-49E4-8B2D-210BEFBDC56D}"/>
          </ac:cxnSpMkLst>
        </pc:cxnChg>
      </pc:sldChg>
      <pc:sldChg chg="addSp delSp modSp add del ord">
        <pc:chgData name="Perez Diaz, Karen" userId="17027623-4de6-4c48-9453-394c2c5804f8" providerId="ADAL" clId="{0DCB131B-3EFE-42DC-9206-7151797C1B48}" dt="2021-01-06T21:48:04.164" v="2285" actId="2696"/>
        <pc:sldMkLst>
          <pc:docMk/>
          <pc:sldMk cId="4089723545" sldId="744"/>
        </pc:sldMkLst>
        <pc:spChg chg="mod">
          <ac:chgData name="Perez Diaz, Karen" userId="17027623-4de6-4c48-9453-394c2c5804f8" providerId="ADAL" clId="{0DCB131B-3EFE-42DC-9206-7151797C1B48}" dt="2021-01-06T18:18:32.186" v="667" actId="13926"/>
          <ac:spMkLst>
            <pc:docMk/>
            <pc:sldMk cId="4089723545" sldId="744"/>
            <ac:spMk id="2" creationId="{EEB2DB48-F55E-46AE-9540-691925464E4C}"/>
          </ac:spMkLst>
        </pc:spChg>
        <pc:spChg chg="mod">
          <ac:chgData name="Perez Diaz, Karen" userId="17027623-4de6-4c48-9453-394c2c5804f8" providerId="ADAL" clId="{0DCB131B-3EFE-42DC-9206-7151797C1B48}" dt="2021-01-06T17:37:41.219" v="5" actId="164"/>
          <ac:spMkLst>
            <pc:docMk/>
            <pc:sldMk cId="4089723545" sldId="744"/>
            <ac:spMk id="6" creationId="{46EE6365-81AD-4FCA-A5B9-4F4D0C586289}"/>
          </ac:spMkLst>
        </pc:spChg>
        <pc:spChg chg="mod">
          <ac:chgData name="Perez Diaz, Karen" userId="17027623-4de6-4c48-9453-394c2c5804f8" providerId="ADAL" clId="{0DCB131B-3EFE-42DC-9206-7151797C1B48}" dt="2021-01-06T17:37:41.219" v="5" actId="164"/>
          <ac:spMkLst>
            <pc:docMk/>
            <pc:sldMk cId="4089723545" sldId="744"/>
            <ac:spMk id="7" creationId="{CBBEE985-DFA9-4335-84E8-9CC49B0EB534}"/>
          </ac:spMkLst>
        </pc:spChg>
        <pc:spChg chg="mod">
          <ac:chgData name="Perez Diaz, Karen" userId="17027623-4de6-4c48-9453-394c2c5804f8" providerId="ADAL" clId="{0DCB131B-3EFE-42DC-9206-7151797C1B48}" dt="2021-01-06T17:37:41.219" v="5" actId="164"/>
          <ac:spMkLst>
            <pc:docMk/>
            <pc:sldMk cId="4089723545" sldId="744"/>
            <ac:spMk id="8" creationId="{0AEC7480-7499-442D-9B7F-9286FAFB0818}"/>
          </ac:spMkLst>
        </pc:spChg>
        <pc:spChg chg="mod">
          <ac:chgData name="Perez Diaz, Karen" userId="17027623-4de6-4c48-9453-394c2c5804f8" providerId="ADAL" clId="{0DCB131B-3EFE-42DC-9206-7151797C1B48}" dt="2021-01-06T17:37:41.219" v="5" actId="164"/>
          <ac:spMkLst>
            <pc:docMk/>
            <pc:sldMk cId="4089723545" sldId="744"/>
            <ac:spMk id="9" creationId="{AD31964D-E5E9-49A2-B1C4-DFCAC54C0BAF}"/>
          </ac:spMkLst>
        </pc:spChg>
        <pc:spChg chg="mod">
          <ac:chgData name="Perez Diaz, Karen" userId="17027623-4de6-4c48-9453-394c2c5804f8" providerId="ADAL" clId="{0DCB131B-3EFE-42DC-9206-7151797C1B48}" dt="2021-01-06T17:37:41.219" v="5" actId="164"/>
          <ac:spMkLst>
            <pc:docMk/>
            <pc:sldMk cId="4089723545" sldId="744"/>
            <ac:spMk id="10" creationId="{EE9C9ED5-ABCE-4FDB-86CF-FDFC75DD74BD}"/>
          </ac:spMkLst>
        </pc:spChg>
        <pc:spChg chg="mod">
          <ac:chgData name="Perez Diaz, Karen" userId="17027623-4de6-4c48-9453-394c2c5804f8" providerId="ADAL" clId="{0DCB131B-3EFE-42DC-9206-7151797C1B48}" dt="2021-01-06T17:37:41.219" v="5" actId="164"/>
          <ac:spMkLst>
            <pc:docMk/>
            <pc:sldMk cId="4089723545" sldId="744"/>
            <ac:spMk id="11" creationId="{728DB449-6AC5-415B-AD63-6D253B91B5F8}"/>
          </ac:spMkLst>
        </pc:spChg>
        <pc:spChg chg="mod">
          <ac:chgData name="Perez Diaz, Karen" userId="17027623-4de6-4c48-9453-394c2c5804f8" providerId="ADAL" clId="{0DCB131B-3EFE-42DC-9206-7151797C1B48}" dt="2021-01-06T17:37:41.219" v="5" actId="164"/>
          <ac:spMkLst>
            <pc:docMk/>
            <pc:sldMk cId="4089723545" sldId="744"/>
            <ac:spMk id="12" creationId="{FE80D894-D049-4249-89C3-2CB429A7EF23}"/>
          </ac:spMkLst>
        </pc:spChg>
        <pc:spChg chg="mod">
          <ac:chgData name="Perez Diaz, Karen" userId="17027623-4de6-4c48-9453-394c2c5804f8" providerId="ADAL" clId="{0DCB131B-3EFE-42DC-9206-7151797C1B48}" dt="2021-01-06T17:37:41.219" v="5" actId="164"/>
          <ac:spMkLst>
            <pc:docMk/>
            <pc:sldMk cId="4089723545" sldId="744"/>
            <ac:spMk id="14" creationId="{F6B3E33B-279A-4B57-A0C7-AFD4CB2BA78F}"/>
          </ac:spMkLst>
        </pc:spChg>
        <pc:spChg chg="mod topLvl">
          <ac:chgData name="Perez Diaz, Karen" userId="17027623-4de6-4c48-9453-394c2c5804f8" providerId="ADAL" clId="{0DCB131B-3EFE-42DC-9206-7151797C1B48}" dt="2021-01-06T18:09:30.664" v="485" actId="164"/>
          <ac:spMkLst>
            <pc:docMk/>
            <pc:sldMk cId="4089723545" sldId="744"/>
            <ac:spMk id="16" creationId="{0A6DB9FC-2790-49F5-96BC-671A635F376F}"/>
          </ac:spMkLst>
        </pc:spChg>
        <pc:spChg chg="mod topLvl">
          <ac:chgData name="Perez Diaz, Karen" userId="17027623-4de6-4c48-9453-394c2c5804f8" providerId="ADAL" clId="{0DCB131B-3EFE-42DC-9206-7151797C1B48}" dt="2021-01-06T18:09:30.664" v="485" actId="164"/>
          <ac:spMkLst>
            <pc:docMk/>
            <pc:sldMk cId="4089723545" sldId="744"/>
            <ac:spMk id="32" creationId="{C23CAF40-5081-4672-BB4F-CE5D10092D0A}"/>
          </ac:spMkLst>
        </pc:spChg>
        <pc:spChg chg="mod topLvl">
          <ac:chgData name="Perez Diaz, Karen" userId="17027623-4de6-4c48-9453-394c2c5804f8" providerId="ADAL" clId="{0DCB131B-3EFE-42DC-9206-7151797C1B48}" dt="2021-01-06T18:09:30.664" v="485" actId="164"/>
          <ac:spMkLst>
            <pc:docMk/>
            <pc:sldMk cId="4089723545" sldId="744"/>
            <ac:spMk id="33" creationId="{EA2C1C74-8715-4291-B19D-B1A652C9088A}"/>
          </ac:spMkLst>
        </pc:spChg>
        <pc:spChg chg="mod topLvl">
          <ac:chgData name="Perez Diaz, Karen" userId="17027623-4de6-4c48-9453-394c2c5804f8" providerId="ADAL" clId="{0DCB131B-3EFE-42DC-9206-7151797C1B48}" dt="2021-01-06T18:09:30.664" v="485" actId="164"/>
          <ac:spMkLst>
            <pc:docMk/>
            <pc:sldMk cId="4089723545" sldId="744"/>
            <ac:spMk id="34" creationId="{382E8A01-BEF3-48DC-8ADF-624A68CB482B}"/>
          </ac:spMkLst>
        </pc:spChg>
        <pc:spChg chg="mod">
          <ac:chgData name="Perez Diaz, Karen" userId="17027623-4de6-4c48-9453-394c2c5804f8" providerId="ADAL" clId="{0DCB131B-3EFE-42DC-9206-7151797C1B48}" dt="2021-01-06T17:37:41.219" v="5" actId="164"/>
          <ac:spMkLst>
            <pc:docMk/>
            <pc:sldMk cId="4089723545" sldId="744"/>
            <ac:spMk id="36" creationId="{B1C07FB1-E4F7-46B0-9153-B6C0A2878CC2}"/>
          </ac:spMkLst>
        </pc:spChg>
        <pc:spChg chg="mod topLvl">
          <ac:chgData name="Perez Diaz, Karen" userId="17027623-4de6-4c48-9453-394c2c5804f8" providerId="ADAL" clId="{0DCB131B-3EFE-42DC-9206-7151797C1B48}" dt="2021-01-06T18:09:30.664" v="485" actId="164"/>
          <ac:spMkLst>
            <pc:docMk/>
            <pc:sldMk cId="4089723545" sldId="744"/>
            <ac:spMk id="45" creationId="{3343FEFB-7C1D-4798-BA26-F401C7045C50}"/>
          </ac:spMkLst>
        </pc:spChg>
        <pc:spChg chg="mod topLvl">
          <ac:chgData name="Perez Diaz, Karen" userId="17027623-4de6-4c48-9453-394c2c5804f8" providerId="ADAL" clId="{0DCB131B-3EFE-42DC-9206-7151797C1B48}" dt="2021-01-06T18:09:30.664" v="485" actId="164"/>
          <ac:spMkLst>
            <pc:docMk/>
            <pc:sldMk cId="4089723545" sldId="744"/>
            <ac:spMk id="69" creationId="{D660A072-DFBB-4936-95BF-01DEE4F7CF2D}"/>
          </ac:spMkLst>
        </pc:spChg>
        <pc:grpChg chg="add del mod">
          <ac:chgData name="Perez Diaz, Karen" userId="17027623-4de6-4c48-9453-394c2c5804f8" providerId="ADAL" clId="{0DCB131B-3EFE-42DC-9206-7151797C1B48}" dt="2021-01-06T17:58:25.614" v="38" actId="165"/>
          <ac:grpSpMkLst>
            <pc:docMk/>
            <pc:sldMk cId="4089723545" sldId="744"/>
            <ac:grpSpMk id="15" creationId="{9D5BA82D-073F-4D43-86D0-4C335F32F463}"/>
          </ac:grpSpMkLst>
        </pc:grpChg>
        <pc:grpChg chg="add mod">
          <ac:chgData name="Perez Diaz, Karen" userId="17027623-4de6-4c48-9453-394c2c5804f8" providerId="ADAL" clId="{0DCB131B-3EFE-42DC-9206-7151797C1B48}" dt="2021-01-06T17:50:43.789" v="23" actId="1076"/>
          <ac:grpSpMkLst>
            <pc:docMk/>
            <pc:sldMk cId="4089723545" sldId="744"/>
            <ac:grpSpMk id="21" creationId="{9736C0EE-C9EE-4772-97F7-673F11D6133B}"/>
          </ac:grpSpMkLst>
        </pc:grpChg>
        <pc:grpChg chg="add mod">
          <ac:chgData name="Perez Diaz, Karen" userId="17027623-4de6-4c48-9453-394c2c5804f8" providerId="ADAL" clId="{0DCB131B-3EFE-42DC-9206-7151797C1B48}" dt="2021-01-06T17:42:30.040" v="10" actId="164"/>
          <ac:grpSpMkLst>
            <pc:docMk/>
            <pc:sldMk cId="4089723545" sldId="744"/>
            <ac:grpSpMk id="22" creationId="{85CA8EE1-6367-4D3D-B253-0EA799F20909}"/>
          </ac:grpSpMkLst>
        </pc:grpChg>
        <pc:grpChg chg="mod topLvl">
          <ac:chgData name="Perez Diaz, Karen" userId="17027623-4de6-4c48-9453-394c2c5804f8" providerId="ADAL" clId="{0DCB131B-3EFE-42DC-9206-7151797C1B48}" dt="2021-01-06T18:09:30.664" v="485" actId="164"/>
          <ac:grpSpMkLst>
            <pc:docMk/>
            <pc:sldMk cId="4089723545" sldId="744"/>
            <ac:grpSpMk id="26" creationId="{899AB3C6-D04B-467B-80AD-71290C5FD607}"/>
          </ac:grpSpMkLst>
        </pc:grpChg>
        <pc:grpChg chg="add mod">
          <ac:chgData name="Perez Diaz, Karen" userId="17027623-4de6-4c48-9453-394c2c5804f8" providerId="ADAL" clId="{0DCB131B-3EFE-42DC-9206-7151797C1B48}" dt="2021-01-06T17:43:59.059" v="15" actId="164"/>
          <ac:grpSpMkLst>
            <pc:docMk/>
            <pc:sldMk cId="4089723545" sldId="744"/>
            <ac:grpSpMk id="28" creationId="{22621D3A-9F3E-4143-80D0-0A10674423AD}"/>
          </ac:grpSpMkLst>
        </pc:grpChg>
        <pc:grpChg chg="mod topLvl">
          <ac:chgData name="Perez Diaz, Karen" userId="17027623-4de6-4c48-9453-394c2c5804f8" providerId="ADAL" clId="{0DCB131B-3EFE-42DC-9206-7151797C1B48}" dt="2021-01-06T18:09:30.664" v="485" actId="164"/>
          <ac:grpSpMkLst>
            <pc:docMk/>
            <pc:sldMk cId="4089723545" sldId="744"/>
            <ac:grpSpMk id="59" creationId="{C41B3DFB-F3AE-4D87-9B8C-C3589EDBC3BF}"/>
          </ac:grpSpMkLst>
        </pc:grpChg>
        <pc:grpChg chg="add mod">
          <ac:chgData name="Perez Diaz, Karen" userId="17027623-4de6-4c48-9453-394c2c5804f8" providerId="ADAL" clId="{0DCB131B-3EFE-42DC-9206-7151797C1B48}" dt="2021-01-06T18:09:30.664" v="485" actId="164"/>
          <ac:grpSpMkLst>
            <pc:docMk/>
            <pc:sldMk cId="4089723545" sldId="744"/>
            <ac:grpSpMk id="83" creationId="{7BAF1810-A318-430F-98AC-74350D69F458}"/>
          </ac:grpSpMkLst>
        </pc:grpChg>
        <pc:grpChg chg="mod">
          <ac:chgData name="Perez Diaz, Karen" userId="17027623-4de6-4c48-9453-394c2c5804f8" providerId="ADAL" clId="{0DCB131B-3EFE-42DC-9206-7151797C1B48}" dt="2021-01-06T17:37:41.219" v="5" actId="164"/>
          <ac:grpSpMkLst>
            <pc:docMk/>
            <pc:sldMk cId="4089723545" sldId="744"/>
            <ac:grpSpMk id="217" creationId="{9E5C4412-7EC4-487F-854E-0A306D3FA7D8}"/>
          </ac:grpSpMkLst>
        </pc:grpChg>
        <pc:cxnChg chg="mod">
          <ac:chgData name="Perez Diaz, Karen" userId="17027623-4de6-4c48-9453-394c2c5804f8" providerId="ADAL" clId="{0DCB131B-3EFE-42DC-9206-7151797C1B48}" dt="2021-01-06T17:37:41.219" v="5" actId="164"/>
          <ac:cxnSpMkLst>
            <pc:docMk/>
            <pc:sldMk cId="4089723545" sldId="744"/>
            <ac:cxnSpMk id="20" creationId="{348D7C3F-B83C-43A8-9D28-CCC9C4BBB069}"/>
          </ac:cxnSpMkLst>
        </pc:cxnChg>
        <pc:cxnChg chg="mod">
          <ac:chgData name="Perez Diaz, Karen" userId="17027623-4de6-4c48-9453-394c2c5804f8" providerId="ADAL" clId="{0DCB131B-3EFE-42DC-9206-7151797C1B48}" dt="2021-01-06T17:37:41.219" v="5" actId="164"/>
          <ac:cxnSpMkLst>
            <pc:docMk/>
            <pc:sldMk cId="4089723545" sldId="744"/>
            <ac:cxnSpMk id="25" creationId="{0FD92F1F-404B-4B75-922F-DC7CBDD99712}"/>
          </ac:cxnSpMkLst>
        </pc:cxnChg>
        <pc:cxnChg chg="mod">
          <ac:chgData name="Perez Diaz, Karen" userId="17027623-4de6-4c48-9453-394c2c5804f8" providerId="ADAL" clId="{0DCB131B-3EFE-42DC-9206-7151797C1B48}" dt="2021-01-06T17:37:41.219" v="5" actId="164"/>
          <ac:cxnSpMkLst>
            <pc:docMk/>
            <pc:sldMk cId="4089723545" sldId="744"/>
            <ac:cxnSpMk id="27" creationId="{241AE13A-CC4B-4DEF-B58D-790536D65968}"/>
          </ac:cxnSpMkLst>
        </pc:cxnChg>
        <pc:cxnChg chg="mod">
          <ac:chgData name="Perez Diaz, Karen" userId="17027623-4de6-4c48-9453-394c2c5804f8" providerId="ADAL" clId="{0DCB131B-3EFE-42DC-9206-7151797C1B48}" dt="2021-01-06T17:37:41.219" v="5" actId="164"/>
          <ac:cxnSpMkLst>
            <pc:docMk/>
            <pc:sldMk cId="4089723545" sldId="744"/>
            <ac:cxnSpMk id="31" creationId="{8FEF314A-9932-4F10-8E0C-6B6DF5F71CD9}"/>
          </ac:cxnSpMkLst>
        </pc:cxnChg>
        <pc:cxnChg chg="mod topLvl">
          <ac:chgData name="Perez Diaz, Karen" userId="17027623-4de6-4c48-9453-394c2c5804f8" providerId="ADAL" clId="{0DCB131B-3EFE-42DC-9206-7151797C1B48}" dt="2021-01-06T18:09:30.664" v="485" actId="164"/>
          <ac:cxnSpMkLst>
            <pc:docMk/>
            <pc:sldMk cId="4089723545" sldId="744"/>
            <ac:cxnSpMk id="38" creationId="{7F2776A2-55FA-4901-8D56-61F7EDBF5378}"/>
          </ac:cxnSpMkLst>
        </pc:cxnChg>
        <pc:cxnChg chg="mod">
          <ac:chgData name="Perez Diaz, Karen" userId="17027623-4de6-4c48-9453-394c2c5804f8" providerId="ADAL" clId="{0DCB131B-3EFE-42DC-9206-7151797C1B48}" dt="2021-01-06T18:05:51.725" v="348" actId="14100"/>
          <ac:cxnSpMkLst>
            <pc:docMk/>
            <pc:sldMk cId="4089723545" sldId="744"/>
            <ac:cxnSpMk id="40" creationId="{41BF7768-DCB4-4368-9877-C2C93FF91055}"/>
          </ac:cxnSpMkLst>
        </pc:cxnChg>
        <pc:cxnChg chg="mod">
          <ac:chgData name="Perez Diaz, Karen" userId="17027623-4de6-4c48-9453-394c2c5804f8" providerId="ADAL" clId="{0DCB131B-3EFE-42DC-9206-7151797C1B48}" dt="2021-01-06T18:06:39.051" v="388" actId="1038"/>
          <ac:cxnSpMkLst>
            <pc:docMk/>
            <pc:sldMk cId="4089723545" sldId="744"/>
            <ac:cxnSpMk id="42" creationId="{3D295E1E-2075-4B22-857E-FD03C60F7025}"/>
          </ac:cxnSpMkLst>
        </pc:cxnChg>
        <pc:cxnChg chg="mod">
          <ac:chgData name="Perez Diaz, Karen" userId="17027623-4de6-4c48-9453-394c2c5804f8" providerId="ADAL" clId="{0DCB131B-3EFE-42DC-9206-7151797C1B48}" dt="2021-01-06T18:22:06.989" v="732" actId="1037"/>
          <ac:cxnSpMkLst>
            <pc:docMk/>
            <pc:sldMk cId="4089723545" sldId="744"/>
            <ac:cxnSpMk id="44" creationId="{687E4B6D-A892-4E39-B6A9-A12D460436C1}"/>
          </ac:cxnSpMkLst>
        </pc:cxnChg>
        <pc:cxnChg chg="mod topLvl">
          <ac:chgData name="Perez Diaz, Karen" userId="17027623-4de6-4c48-9453-394c2c5804f8" providerId="ADAL" clId="{0DCB131B-3EFE-42DC-9206-7151797C1B48}" dt="2021-01-06T18:09:30.664" v="485" actId="164"/>
          <ac:cxnSpMkLst>
            <pc:docMk/>
            <pc:sldMk cId="4089723545" sldId="744"/>
            <ac:cxnSpMk id="47" creationId="{027D99D2-D61F-43DD-88D9-A764AB3F4C74}"/>
          </ac:cxnSpMkLst>
        </pc:cxnChg>
        <pc:cxnChg chg="mod">
          <ac:chgData name="Perez Diaz, Karen" userId="17027623-4de6-4c48-9453-394c2c5804f8" providerId="ADAL" clId="{0DCB131B-3EFE-42DC-9206-7151797C1B48}" dt="2021-01-06T18:05:28.070" v="343" actId="14100"/>
          <ac:cxnSpMkLst>
            <pc:docMk/>
            <pc:sldMk cId="4089723545" sldId="744"/>
            <ac:cxnSpMk id="49" creationId="{EB1E3269-08BD-4913-A0C9-43F30A56D799}"/>
          </ac:cxnSpMkLst>
        </pc:cxnChg>
        <pc:cxnChg chg="mod topLvl">
          <ac:chgData name="Perez Diaz, Karen" userId="17027623-4de6-4c48-9453-394c2c5804f8" providerId="ADAL" clId="{0DCB131B-3EFE-42DC-9206-7151797C1B48}" dt="2021-01-06T18:09:30.664" v="485" actId="164"/>
          <ac:cxnSpMkLst>
            <pc:docMk/>
            <pc:sldMk cId="4089723545" sldId="744"/>
            <ac:cxnSpMk id="52" creationId="{9A801628-898B-4840-8337-E3F4FCEE2F10}"/>
          </ac:cxnSpMkLst>
        </pc:cxnChg>
        <pc:cxnChg chg="mod">
          <ac:chgData name="Perez Diaz, Karen" userId="17027623-4de6-4c48-9453-394c2c5804f8" providerId="ADAL" clId="{0DCB131B-3EFE-42DC-9206-7151797C1B48}" dt="2021-01-06T17:37:41.219" v="5" actId="164"/>
          <ac:cxnSpMkLst>
            <pc:docMk/>
            <pc:sldMk cId="4089723545" sldId="744"/>
            <ac:cxnSpMk id="65" creationId="{9F79DEE4-32EB-4954-BB88-47EAFD90F0F2}"/>
          </ac:cxnSpMkLst>
        </pc:cxnChg>
        <pc:cxnChg chg="mod">
          <ac:chgData name="Perez Diaz, Karen" userId="17027623-4de6-4c48-9453-394c2c5804f8" providerId="ADAL" clId="{0DCB131B-3EFE-42DC-9206-7151797C1B48}" dt="2021-01-06T18:06:25.258" v="379" actId="1036"/>
          <ac:cxnSpMkLst>
            <pc:docMk/>
            <pc:sldMk cId="4089723545" sldId="744"/>
            <ac:cxnSpMk id="67" creationId="{BCC689C9-66DC-4DAB-980A-751E46C8B338}"/>
          </ac:cxnSpMkLst>
        </pc:cxnChg>
        <pc:cxnChg chg="mod topLvl">
          <ac:chgData name="Perez Diaz, Karen" userId="17027623-4de6-4c48-9453-394c2c5804f8" providerId="ADAL" clId="{0DCB131B-3EFE-42DC-9206-7151797C1B48}" dt="2021-01-06T18:09:30.664" v="485" actId="164"/>
          <ac:cxnSpMkLst>
            <pc:docMk/>
            <pc:sldMk cId="4089723545" sldId="744"/>
            <ac:cxnSpMk id="170" creationId="{22C87227-5D49-40A2-A3BC-8592EC3CD579}"/>
          </ac:cxnSpMkLst>
        </pc:cxnChg>
        <pc:cxnChg chg="mod">
          <ac:chgData name="Perez Diaz, Karen" userId="17027623-4de6-4c48-9453-394c2c5804f8" providerId="ADAL" clId="{0DCB131B-3EFE-42DC-9206-7151797C1B48}" dt="2021-01-06T17:37:41.219" v="5" actId="164"/>
          <ac:cxnSpMkLst>
            <pc:docMk/>
            <pc:sldMk cId="4089723545" sldId="744"/>
            <ac:cxnSpMk id="203" creationId="{C8A4CE5A-2494-44D7-B7F2-6D9571F3E921}"/>
          </ac:cxnSpMkLst>
        </pc:cxnChg>
      </pc:sldChg>
      <pc:sldChg chg="addSp delSp modSp add del ord">
        <pc:chgData name="Perez Diaz, Karen" userId="17027623-4de6-4c48-9453-394c2c5804f8" providerId="ADAL" clId="{0DCB131B-3EFE-42DC-9206-7151797C1B48}" dt="2021-01-06T21:48:00.819" v="2284" actId="2696"/>
        <pc:sldMkLst>
          <pc:docMk/>
          <pc:sldMk cId="3432332875" sldId="745"/>
        </pc:sldMkLst>
        <pc:spChg chg="mod">
          <ac:chgData name="Perez Diaz, Karen" userId="17027623-4de6-4c48-9453-394c2c5804f8" providerId="ADAL" clId="{0DCB131B-3EFE-42DC-9206-7151797C1B48}" dt="2021-01-06T18:18:39.762" v="674" actId="20577"/>
          <ac:spMkLst>
            <pc:docMk/>
            <pc:sldMk cId="3432332875" sldId="745"/>
            <ac:spMk id="2" creationId="{EEB2DB48-F55E-46AE-9540-691925464E4C}"/>
          </ac:spMkLst>
        </pc:spChg>
        <pc:spChg chg="mod">
          <ac:chgData name="Perez Diaz, Karen" userId="17027623-4de6-4c48-9453-394c2c5804f8" providerId="ADAL" clId="{0DCB131B-3EFE-42DC-9206-7151797C1B48}" dt="2021-01-06T18:10:21.983" v="531" actId="164"/>
          <ac:spMkLst>
            <pc:docMk/>
            <pc:sldMk cId="3432332875" sldId="745"/>
            <ac:spMk id="6" creationId="{46EE6365-81AD-4FCA-A5B9-4F4D0C586289}"/>
          </ac:spMkLst>
        </pc:spChg>
        <pc:spChg chg="mod">
          <ac:chgData name="Perez Diaz, Karen" userId="17027623-4de6-4c48-9453-394c2c5804f8" providerId="ADAL" clId="{0DCB131B-3EFE-42DC-9206-7151797C1B48}" dt="2021-01-06T18:10:06.838" v="489" actId="164"/>
          <ac:spMkLst>
            <pc:docMk/>
            <pc:sldMk cId="3432332875" sldId="745"/>
            <ac:spMk id="7" creationId="{CBBEE985-DFA9-4335-84E8-9CC49B0EB534}"/>
          </ac:spMkLst>
        </pc:spChg>
        <pc:spChg chg="mod">
          <ac:chgData name="Perez Diaz, Karen" userId="17027623-4de6-4c48-9453-394c2c5804f8" providerId="ADAL" clId="{0DCB131B-3EFE-42DC-9206-7151797C1B48}" dt="2021-01-06T18:10:06.838" v="489" actId="164"/>
          <ac:spMkLst>
            <pc:docMk/>
            <pc:sldMk cId="3432332875" sldId="745"/>
            <ac:spMk id="8" creationId="{0AEC7480-7499-442D-9B7F-9286FAFB0818}"/>
          </ac:spMkLst>
        </pc:spChg>
        <pc:spChg chg="mod">
          <ac:chgData name="Perez Diaz, Karen" userId="17027623-4de6-4c48-9453-394c2c5804f8" providerId="ADAL" clId="{0DCB131B-3EFE-42DC-9206-7151797C1B48}" dt="2021-01-06T18:10:06.838" v="489" actId="164"/>
          <ac:spMkLst>
            <pc:docMk/>
            <pc:sldMk cId="3432332875" sldId="745"/>
            <ac:spMk id="9" creationId="{AD31964D-E5E9-49A2-B1C4-DFCAC54C0BAF}"/>
          </ac:spMkLst>
        </pc:spChg>
        <pc:spChg chg="mod">
          <ac:chgData name="Perez Diaz, Karen" userId="17027623-4de6-4c48-9453-394c2c5804f8" providerId="ADAL" clId="{0DCB131B-3EFE-42DC-9206-7151797C1B48}" dt="2021-01-06T18:10:06.838" v="489" actId="164"/>
          <ac:spMkLst>
            <pc:docMk/>
            <pc:sldMk cId="3432332875" sldId="745"/>
            <ac:spMk id="10" creationId="{EE9C9ED5-ABCE-4FDB-86CF-FDFC75DD74BD}"/>
          </ac:spMkLst>
        </pc:spChg>
        <pc:spChg chg="mod">
          <ac:chgData name="Perez Diaz, Karen" userId="17027623-4de6-4c48-9453-394c2c5804f8" providerId="ADAL" clId="{0DCB131B-3EFE-42DC-9206-7151797C1B48}" dt="2021-01-06T18:10:06.838" v="489" actId="164"/>
          <ac:spMkLst>
            <pc:docMk/>
            <pc:sldMk cId="3432332875" sldId="745"/>
            <ac:spMk id="11" creationId="{728DB449-6AC5-415B-AD63-6D253B91B5F8}"/>
          </ac:spMkLst>
        </pc:spChg>
        <pc:spChg chg="mod">
          <ac:chgData name="Perez Diaz, Karen" userId="17027623-4de6-4c48-9453-394c2c5804f8" providerId="ADAL" clId="{0DCB131B-3EFE-42DC-9206-7151797C1B48}" dt="2021-01-06T18:10:06.838" v="489" actId="164"/>
          <ac:spMkLst>
            <pc:docMk/>
            <pc:sldMk cId="3432332875" sldId="745"/>
            <ac:spMk id="12" creationId="{FE80D894-D049-4249-89C3-2CB429A7EF23}"/>
          </ac:spMkLst>
        </pc:spChg>
        <pc:spChg chg="mod">
          <ac:chgData name="Perez Diaz, Karen" userId="17027623-4de6-4c48-9453-394c2c5804f8" providerId="ADAL" clId="{0DCB131B-3EFE-42DC-9206-7151797C1B48}" dt="2021-01-06T18:10:06.838" v="489" actId="164"/>
          <ac:spMkLst>
            <pc:docMk/>
            <pc:sldMk cId="3432332875" sldId="745"/>
            <ac:spMk id="14" creationId="{F6B3E33B-279A-4B57-A0C7-AFD4CB2BA78F}"/>
          </ac:spMkLst>
        </pc:spChg>
        <pc:spChg chg="del">
          <ac:chgData name="Perez Diaz, Karen" userId="17027623-4de6-4c48-9453-394c2c5804f8" providerId="ADAL" clId="{0DCB131B-3EFE-42DC-9206-7151797C1B48}" dt="2021-01-06T18:09:40.632" v="487" actId="478"/>
          <ac:spMkLst>
            <pc:docMk/>
            <pc:sldMk cId="3432332875" sldId="745"/>
            <ac:spMk id="16" creationId="{0A6DB9FC-2790-49F5-96BC-671A635F376F}"/>
          </ac:spMkLst>
        </pc:spChg>
        <pc:spChg chg="del">
          <ac:chgData name="Perez Diaz, Karen" userId="17027623-4de6-4c48-9453-394c2c5804f8" providerId="ADAL" clId="{0DCB131B-3EFE-42DC-9206-7151797C1B48}" dt="2021-01-06T18:09:40.632" v="487" actId="478"/>
          <ac:spMkLst>
            <pc:docMk/>
            <pc:sldMk cId="3432332875" sldId="745"/>
            <ac:spMk id="32" creationId="{C23CAF40-5081-4672-BB4F-CE5D10092D0A}"/>
          </ac:spMkLst>
        </pc:spChg>
        <pc:spChg chg="del">
          <ac:chgData name="Perez Diaz, Karen" userId="17027623-4de6-4c48-9453-394c2c5804f8" providerId="ADAL" clId="{0DCB131B-3EFE-42DC-9206-7151797C1B48}" dt="2021-01-06T18:09:40.632" v="487" actId="478"/>
          <ac:spMkLst>
            <pc:docMk/>
            <pc:sldMk cId="3432332875" sldId="745"/>
            <ac:spMk id="33" creationId="{EA2C1C74-8715-4291-B19D-B1A652C9088A}"/>
          </ac:spMkLst>
        </pc:spChg>
        <pc:spChg chg="del">
          <ac:chgData name="Perez Diaz, Karen" userId="17027623-4de6-4c48-9453-394c2c5804f8" providerId="ADAL" clId="{0DCB131B-3EFE-42DC-9206-7151797C1B48}" dt="2021-01-06T18:09:40.632" v="487" actId="478"/>
          <ac:spMkLst>
            <pc:docMk/>
            <pc:sldMk cId="3432332875" sldId="745"/>
            <ac:spMk id="34" creationId="{382E8A01-BEF3-48DC-8ADF-624A68CB482B}"/>
          </ac:spMkLst>
        </pc:spChg>
        <pc:spChg chg="mod">
          <ac:chgData name="Perez Diaz, Karen" userId="17027623-4de6-4c48-9453-394c2c5804f8" providerId="ADAL" clId="{0DCB131B-3EFE-42DC-9206-7151797C1B48}" dt="2021-01-06T18:10:06.838" v="489" actId="164"/>
          <ac:spMkLst>
            <pc:docMk/>
            <pc:sldMk cId="3432332875" sldId="745"/>
            <ac:spMk id="36" creationId="{B1C07FB1-E4F7-46B0-9153-B6C0A2878CC2}"/>
          </ac:spMkLst>
        </pc:spChg>
        <pc:spChg chg="del">
          <ac:chgData name="Perez Diaz, Karen" userId="17027623-4de6-4c48-9453-394c2c5804f8" providerId="ADAL" clId="{0DCB131B-3EFE-42DC-9206-7151797C1B48}" dt="2021-01-06T18:09:37.002" v="486" actId="478"/>
          <ac:spMkLst>
            <pc:docMk/>
            <pc:sldMk cId="3432332875" sldId="745"/>
            <ac:spMk id="45" creationId="{3343FEFB-7C1D-4798-BA26-F401C7045C50}"/>
          </ac:spMkLst>
        </pc:spChg>
        <pc:spChg chg="mod">
          <ac:chgData name="Perez Diaz, Karen" userId="17027623-4de6-4c48-9453-394c2c5804f8" providerId="ADAL" clId="{0DCB131B-3EFE-42DC-9206-7151797C1B48}" dt="2021-01-06T18:20:06.590" v="701" actId="1036"/>
          <ac:spMkLst>
            <pc:docMk/>
            <pc:sldMk cId="3432332875" sldId="745"/>
            <ac:spMk id="51" creationId="{D8309F17-C82C-4EB0-83D1-B21D09B3C1AE}"/>
          </ac:spMkLst>
        </pc:spChg>
        <pc:spChg chg="mod">
          <ac:chgData name="Perez Diaz, Karen" userId="17027623-4de6-4c48-9453-394c2c5804f8" providerId="ADAL" clId="{0DCB131B-3EFE-42DC-9206-7151797C1B48}" dt="2021-01-06T18:20:20.854" v="706" actId="1035"/>
          <ac:spMkLst>
            <pc:docMk/>
            <pc:sldMk cId="3432332875" sldId="745"/>
            <ac:spMk id="53" creationId="{A96ED489-E4D2-4C2A-A0CA-011B28259160}"/>
          </ac:spMkLst>
        </pc:spChg>
        <pc:spChg chg="mod">
          <ac:chgData name="Perez Diaz, Karen" userId="17027623-4de6-4c48-9453-394c2c5804f8" providerId="ADAL" clId="{0DCB131B-3EFE-42DC-9206-7151797C1B48}" dt="2021-01-06T18:20:27.243" v="709" actId="1035"/>
          <ac:spMkLst>
            <pc:docMk/>
            <pc:sldMk cId="3432332875" sldId="745"/>
            <ac:spMk id="54" creationId="{145AD034-4FBD-4001-BE6B-55CBB1097D44}"/>
          </ac:spMkLst>
        </pc:spChg>
        <pc:spChg chg="mod">
          <ac:chgData name="Perez Diaz, Karen" userId="17027623-4de6-4c48-9453-394c2c5804f8" providerId="ADAL" clId="{0DCB131B-3EFE-42DC-9206-7151797C1B48}" dt="2021-01-06T18:20:27.243" v="709" actId="1035"/>
          <ac:spMkLst>
            <pc:docMk/>
            <pc:sldMk cId="3432332875" sldId="745"/>
            <ac:spMk id="56" creationId="{7712ABA7-5E5F-4307-8A3E-1B769689DCE0}"/>
          </ac:spMkLst>
        </pc:spChg>
        <pc:spChg chg="mod">
          <ac:chgData name="Perez Diaz, Karen" userId="17027623-4de6-4c48-9453-394c2c5804f8" providerId="ADAL" clId="{0DCB131B-3EFE-42DC-9206-7151797C1B48}" dt="2021-01-06T18:19:38.416" v="688" actId="1036"/>
          <ac:spMkLst>
            <pc:docMk/>
            <pc:sldMk cId="3432332875" sldId="745"/>
            <ac:spMk id="58" creationId="{7F4B5AAA-0867-41C7-AF87-85C4112B3E8C}"/>
          </ac:spMkLst>
        </pc:spChg>
        <pc:spChg chg="mod">
          <ac:chgData name="Perez Diaz, Karen" userId="17027623-4de6-4c48-9453-394c2c5804f8" providerId="ADAL" clId="{0DCB131B-3EFE-42DC-9206-7151797C1B48}" dt="2021-01-06T18:19:38.416" v="688" actId="1036"/>
          <ac:spMkLst>
            <pc:docMk/>
            <pc:sldMk cId="3432332875" sldId="745"/>
            <ac:spMk id="64" creationId="{FCC3EBC2-9D0D-47EA-B152-51B9C42AFCE8}"/>
          </ac:spMkLst>
        </pc:spChg>
        <pc:spChg chg="mod">
          <ac:chgData name="Perez Diaz, Karen" userId="17027623-4de6-4c48-9453-394c2c5804f8" providerId="ADAL" clId="{0DCB131B-3EFE-42DC-9206-7151797C1B48}" dt="2021-01-06T18:19:38.416" v="688" actId="1036"/>
          <ac:spMkLst>
            <pc:docMk/>
            <pc:sldMk cId="3432332875" sldId="745"/>
            <ac:spMk id="68" creationId="{8297072D-5A85-4366-B2F8-CF75DDD93FCF}"/>
          </ac:spMkLst>
        </pc:spChg>
        <pc:spChg chg="del">
          <ac:chgData name="Perez Diaz, Karen" userId="17027623-4de6-4c48-9453-394c2c5804f8" providerId="ADAL" clId="{0DCB131B-3EFE-42DC-9206-7151797C1B48}" dt="2021-01-06T18:09:37.002" v="486" actId="478"/>
          <ac:spMkLst>
            <pc:docMk/>
            <pc:sldMk cId="3432332875" sldId="745"/>
            <ac:spMk id="69" creationId="{D660A072-DFBB-4936-95BF-01DEE4F7CF2D}"/>
          </ac:spMkLst>
        </pc:spChg>
        <pc:spChg chg="mod">
          <ac:chgData name="Perez Diaz, Karen" userId="17027623-4de6-4c48-9453-394c2c5804f8" providerId="ADAL" clId="{0DCB131B-3EFE-42DC-9206-7151797C1B48}" dt="2021-01-06T18:20:06.590" v="701" actId="1036"/>
          <ac:spMkLst>
            <pc:docMk/>
            <pc:sldMk cId="3432332875" sldId="745"/>
            <ac:spMk id="74" creationId="{A978716B-E8B2-441F-A5A9-2A2F11559D2E}"/>
          </ac:spMkLst>
        </pc:spChg>
        <pc:spChg chg="mod">
          <ac:chgData name="Perez Diaz, Karen" userId="17027623-4de6-4c48-9453-394c2c5804f8" providerId="ADAL" clId="{0DCB131B-3EFE-42DC-9206-7151797C1B48}" dt="2021-01-06T18:20:06.590" v="701" actId="1036"/>
          <ac:spMkLst>
            <pc:docMk/>
            <pc:sldMk cId="3432332875" sldId="745"/>
            <ac:spMk id="75" creationId="{A4E9BBFC-D47C-4A4B-9668-6FDA060324CE}"/>
          </ac:spMkLst>
        </pc:spChg>
        <pc:spChg chg="mod topLvl">
          <ac:chgData name="Perez Diaz, Karen" userId="17027623-4de6-4c48-9453-394c2c5804f8" providerId="ADAL" clId="{0DCB131B-3EFE-42DC-9206-7151797C1B48}" dt="2021-01-06T19:48:32.747" v="819" actId="1036"/>
          <ac:spMkLst>
            <pc:docMk/>
            <pc:sldMk cId="3432332875" sldId="745"/>
            <ac:spMk id="93" creationId="{792E0B45-1391-4BC6-8986-26E404F3B518}"/>
          </ac:spMkLst>
        </pc:spChg>
        <pc:spChg chg="mod topLvl">
          <ac:chgData name="Perez Diaz, Karen" userId="17027623-4de6-4c48-9453-394c2c5804f8" providerId="ADAL" clId="{0DCB131B-3EFE-42DC-9206-7151797C1B48}" dt="2021-01-06T19:48:32.747" v="819" actId="1036"/>
          <ac:spMkLst>
            <pc:docMk/>
            <pc:sldMk cId="3432332875" sldId="745"/>
            <ac:spMk id="94" creationId="{40842276-A91A-40C2-B4E1-59432F9A3A28}"/>
          </ac:spMkLst>
        </pc:spChg>
        <pc:spChg chg="mod topLvl">
          <ac:chgData name="Perez Diaz, Karen" userId="17027623-4de6-4c48-9453-394c2c5804f8" providerId="ADAL" clId="{0DCB131B-3EFE-42DC-9206-7151797C1B48}" dt="2021-01-06T19:48:32.747" v="819" actId="1036"/>
          <ac:spMkLst>
            <pc:docMk/>
            <pc:sldMk cId="3432332875" sldId="745"/>
            <ac:spMk id="95" creationId="{2EEF3D7B-0209-45A3-8234-DF5C3A5823AE}"/>
          </ac:spMkLst>
        </pc:spChg>
        <pc:spChg chg="mod topLvl">
          <ac:chgData name="Perez Diaz, Karen" userId="17027623-4de6-4c48-9453-394c2c5804f8" providerId="ADAL" clId="{0DCB131B-3EFE-42DC-9206-7151797C1B48}" dt="2021-01-06T19:48:40.948" v="821" actId="1037"/>
          <ac:spMkLst>
            <pc:docMk/>
            <pc:sldMk cId="3432332875" sldId="745"/>
            <ac:spMk id="96" creationId="{F9AACBE0-D4FE-40D6-8E00-40DDF636A60D}"/>
          </ac:spMkLst>
        </pc:spChg>
        <pc:spChg chg="mod topLvl">
          <ac:chgData name="Perez Diaz, Karen" userId="17027623-4de6-4c48-9453-394c2c5804f8" providerId="ADAL" clId="{0DCB131B-3EFE-42DC-9206-7151797C1B48}" dt="2021-01-06T19:48:32.747" v="819" actId="1036"/>
          <ac:spMkLst>
            <pc:docMk/>
            <pc:sldMk cId="3432332875" sldId="745"/>
            <ac:spMk id="98" creationId="{EFE86654-5D76-41A0-8C66-6E4B2C321E95}"/>
          </ac:spMkLst>
        </pc:spChg>
        <pc:spChg chg="mod topLvl">
          <ac:chgData name="Perez Diaz, Karen" userId="17027623-4de6-4c48-9453-394c2c5804f8" providerId="ADAL" clId="{0DCB131B-3EFE-42DC-9206-7151797C1B48}" dt="2021-01-06T19:48:32.747" v="819" actId="1036"/>
          <ac:spMkLst>
            <pc:docMk/>
            <pc:sldMk cId="3432332875" sldId="745"/>
            <ac:spMk id="103" creationId="{05030A7C-7089-4C44-9D97-0A4A960E7D44}"/>
          </ac:spMkLst>
        </pc:spChg>
        <pc:spChg chg="del">
          <ac:chgData name="Perez Diaz, Karen" userId="17027623-4de6-4c48-9453-394c2c5804f8" providerId="ADAL" clId="{0DCB131B-3EFE-42DC-9206-7151797C1B48}" dt="2021-01-06T18:07:20.404" v="409" actId="478"/>
          <ac:spMkLst>
            <pc:docMk/>
            <pc:sldMk cId="3432332875" sldId="745"/>
            <ac:spMk id="104" creationId="{D7DBCDAE-E439-4C13-AB0B-B49695AB8EC9}"/>
          </ac:spMkLst>
        </pc:spChg>
        <pc:spChg chg="mod">
          <ac:chgData name="Perez Diaz, Karen" userId="17027623-4de6-4c48-9453-394c2c5804f8" providerId="ADAL" clId="{0DCB131B-3EFE-42DC-9206-7151797C1B48}" dt="2021-01-06T18:19:38.416" v="688" actId="1036"/>
          <ac:spMkLst>
            <pc:docMk/>
            <pc:sldMk cId="3432332875" sldId="745"/>
            <ac:spMk id="111" creationId="{BFE84C98-41FA-487B-9228-92CF6F468B5E}"/>
          </ac:spMkLst>
        </pc:spChg>
        <pc:spChg chg="mod">
          <ac:chgData name="Perez Diaz, Karen" userId="17027623-4de6-4c48-9453-394c2c5804f8" providerId="ADAL" clId="{0DCB131B-3EFE-42DC-9206-7151797C1B48}" dt="2021-01-06T18:19:38.416" v="688" actId="1036"/>
          <ac:spMkLst>
            <pc:docMk/>
            <pc:sldMk cId="3432332875" sldId="745"/>
            <ac:spMk id="118" creationId="{42752276-35F2-4455-B23C-6798F26C5A7A}"/>
          </ac:spMkLst>
        </pc:spChg>
        <pc:spChg chg="add mod ord">
          <ac:chgData name="Perez Diaz, Karen" userId="17027623-4de6-4c48-9453-394c2c5804f8" providerId="ADAL" clId="{0DCB131B-3EFE-42DC-9206-7151797C1B48}" dt="2021-01-06T19:46:41.489" v="752" actId="14100"/>
          <ac:spMkLst>
            <pc:docMk/>
            <pc:sldMk cId="3432332875" sldId="745"/>
            <ac:spMk id="123" creationId="{FC29B034-AF17-4B3B-AB22-B23A8DC79CE6}"/>
          </ac:spMkLst>
        </pc:spChg>
        <pc:spChg chg="add mod">
          <ac:chgData name="Perez Diaz, Karen" userId="17027623-4de6-4c48-9453-394c2c5804f8" providerId="ADAL" clId="{0DCB131B-3EFE-42DC-9206-7151797C1B48}" dt="2021-01-06T19:48:13.567" v="809" actId="1037"/>
          <ac:spMkLst>
            <pc:docMk/>
            <pc:sldMk cId="3432332875" sldId="745"/>
            <ac:spMk id="124" creationId="{1ECA2753-F0C9-48A2-8D58-3F7CE2326C07}"/>
          </ac:spMkLst>
        </pc:spChg>
        <pc:spChg chg="del">
          <ac:chgData name="Perez Diaz, Karen" userId="17027623-4de6-4c48-9453-394c2c5804f8" providerId="ADAL" clId="{0DCB131B-3EFE-42DC-9206-7151797C1B48}" dt="2021-01-06T18:07:23.041" v="410" actId="478"/>
          <ac:spMkLst>
            <pc:docMk/>
            <pc:sldMk cId="3432332875" sldId="745"/>
            <ac:spMk id="128" creationId="{1ABDDCE4-637E-40FD-BC59-07FA39387FA6}"/>
          </ac:spMkLst>
        </pc:spChg>
        <pc:grpChg chg="add mod">
          <ac:chgData name="Perez Diaz, Karen" userId="17027623-4de6-4c48-9453-394c2c5804f8" providerId="ADAL" clId="{0DCB131B-3EFE-42DC-9206-7151797C1B48}" dt="2021-01-06T18:08:09.089" v="435" actId="164"/>
          <ac:grpSpMkLst>
            <pc:docMk/>
            <pc:sldMk cId="3432332875" sldId="745"/>
            <ac:grpSpMk id="3" creationId="{7CBA4DB8-010E-4BA3-B095-695D031EEAA2}"/>
          </ac:grpSpMkLst>
        </pc:grpChg>
        <pc:grpChg chg="add mod">
          <ac:chgData name="Perez Diaz, Karen" userId="17027623-4de6-4c48-9453-394c2c5804f8" providerId="ADAL" clId="{0DCB131B-3EFE-42DC-9206-7151797C1B48}" dt="2021-01-06T18:08:08.026" v="434" actId="164"/>
          <ac:grpSpMkLst>
            <pc:docMk/>
            <pc:sldMk cId="3432332875" sldId="745"/>
            <ac:grpSpMk id="5" creationId="{72B42278-531B-4180-9E45-C1210854CCBC}"/>
          </ac:grpSpMkLst>
        </pc:grpChg>
        <pc:grpChg chg="mod">
          <ac:chgData name="Perez Diaz, Karen" userId="17027623-4de6-4c48-9453-394c2c5804f8" providerId="ADAL" clId="{0DCB131B-3EFE-42DC-9206-7151797C1B48}" dt="2021-01-06T18:10:06.838" v="489" actId="164"/>
          <ac:grpSpMkLst>
            <pc:docMk/>
            <pc:sldMk cId="3432332875" sldId="745"/>
            <ac:grpSpMk id="23" creationId="{755A2DB1-C309-48AF-94F4-5B3B10482411}"/>
          </ac:grpSpMkLst>
        </pc:grpChg>
        <pc:grpChg chg="add mod">
          <ac:chgData name="Perez Diaz, Karen" userId="17027623-4de6-4c48-9453-394c2c5804f8" providerId="ADAL" clId="{0DCB131B-3EFE-42DC-9206-7151797C1B48}" dt="2021-01-06T18:10:21.983" v="531" actId="164"/>
          <ac:grpSpMkLst>
            <pc:docMk/>
            <pc:sldMk cId="3432332875" sldId="745"/>
            <ac:grpSpMk id="28" creationId="{28CDEEFF-6901-489B-A613-600C6B9418BC}"/>
          </ac:grpSpMkLst>
        </pc:grpChg>
        <pc:grpChg chg="add mod">
          <ac:chgData name="Perez Diaz, Karen" userId="17027623-4de6-4c48-9453-394c2c5804f8" providerId="ADAL" clId="{0DCB131B-3EFE-42DC-9206-7151797C1B48}" dt="2021-01-06T21:14:47.780" v="1217" actId="1037"/>
          <ac:grpSpMkLst>
            <pc:docMk/>
            <pc:sldMk cId="3432332875" sldId="745"/>
            <ac:grpSpMk id="29" creationId="{5E07E4C3-ED30-4A2B-B1DD-79C6CB2E3EEF}"/>
          </ac:grpSpMkLst>
        </pc:grpChg>
        <pc:grpChg chg="mod">
          <ac:chgData name="Perez Diaz, Karen" userId="17027623-4de6-4c48-9453-394c2c5804f8" providerId="ADAL" clId="{0DCB131B-3EFE-42DC-9206-7151797C1B48}" dt="2021-01-06T18:10:06.838" v="489" actId="164"/>
          <ac:grpSpMkLst>
            <pc:docMk/>
            <pc:sldMk cId="3432332875" sldId="745"/>
            <ac:grpSpMk id="50" creationId="{E5F6E99E-A091-44B0-81F0-D7F7252F34E2}"/>
          </ac:grpSpMkLst>
        </pc:grpChg>
        <pc:grpChg chg="del">
          <ac:chgData name="Perez Diaz, Karen" userId="17027623-4de6-4c48-9453-394c2c5804f8" providerId="ADAL" clId="{0DCB131B-3EFE-42DC-9206-7151797C1B48}" dt="2021-01-06T18:09:40.632" v="487" actId="478"/>
          <ac:grpSpMkLst>
            <pc:docMk/>
            <pc:sldMk cId="3432332875" sldId="745"/>
            <ac:grpSpMk id="59" creationId="{C41B3DFB-F3AE-4D87-9B8C-C3589EDBC3BF}"/>
          </ac:grpSpMkLst>
        </pc:grpChg>
        <pc:grpChg chg="del">
          <ac:chgData name="Perez Diaz, Karen" userId="17027623-4de6-4c48-9453-394c2c5804f8" providerId="ADAL" clId="{0DCB131B-3EFE-42DC-9206-7151797C1B48}" dt="2021-01-06T18:09:37.002" v="486" actId="478"/>
          <ac:grpSpMkLst>
            <pc:docMk/>
            <pc:sldMk cId="3432332875" sldId="745"/>
            <ac:grpSpMk id="78" creationId="{3E8A4C4F-A5DA-49C4-926F-AEA5802E73DA}"/>
          </ac:grpSpMkLst>
        </pc:grpChg>
        <pc:grpChg chg="add del mod">
          <ac:chgData name="Perez Diaz, Karen" userId="17027623-4de6-4c48-9453-394c2c5804f8" providerId="ADAL" clId="{0DCB131B-3EFE-42DC-9206-7151797C1B48}" dt="2021-01-06T19:48:20.186" v="810" actId="165"/>
          <ac:grpSpMkLst>
            <pc:docMk/>
            <pc:sldMk cId="3432332875" sldId="745"/>
            <ac:grpSpMk id="92" creationId="{A2ABB6F1-740D-4010-A7A5-07E93454DF24}"/>
          </ac:grpSpMkLst>
        </pc:grpChg>
        <pc:grpChg chg="mod topLvl">
          <ac:chgData name="Perez Diaz, Karen" userId="17027623-4de6-4c48-9453-394c2c5804f8" providerId="ADAL" clId="{0DCB131B-3EFE-42DC-9206-7151797C1B48}" dt="2021-01-06T19:48:32.747" v="819" actId="1036"/>
          <ac:grpSpMkLst>
            <pc:docMk/>
            <pc:sldMk cId="3432332875" sldId="745"/>
            <ac:grpSpMk id="102" creationId="{DD622DB8-D90E-4F14-BE73-0A6AFF5BBC35}"/>
          </ac:grpSpMkLst>
        </pc:grpChg>
        <pc:grpChg chg="mod topLvl">
          <ac:chgData name="Perez Diaz, Karen" userId="17027623-4de6-4c48-9453-394c2c5804f8" providerId="ADAL" clId="{0DCB131B-3EFE-42DC-9206-7151797C1B48}" dt="2021-01-06T19:48:20.186" v="810" actId="165"/>
          <ac:grpSpMkLst>
            <pc:docMk/>
            <pc:sldMk cId="3432332875" sldId="745"/>
            <ac:grpSpMk id="105" creationId="{2965B370-0DED-44F4-BCC7-DC8E04585A08}"/>
          </ac:grpSpMkLst>
        </pc:grpChg>
        <pc:grpChg chg="mod">
          <ac:chgData name="Perez Diaz, Karen" userId="17027623-4de6-4c48-9453-394c2c5804f8" providerId="ADAL" clId="{0DCB131B-3EFE-42DC-9206-7151797C1B48}" dt="2021-01-06T18:10:06.838" v="489" actId="164"/>
          <ac:grpSpMkLst>
            <pc:docMk/>
            <pc:sldMk cId="3432332875" sldId="745"/>
            <ac:grpSpMk id="112" creationId="{925BB652-1C8E-44A9-8838-7AC45563CE70}"/>
          </ac:grpSpMkLst>
        </pc:grpChg>
        <pc:cxnChg chg="mod">
          <ac:chgData name="Perez Diaz, Karen" userId="17027623-4de6-4c48-9453-394c2c5804f8" providerId="ADAL" clId="{0DCB131B-3EFE-42DC-9206-7151797C1B48}" dt="2021-01-06T18:10:06.838" v="489" actId="164"/>
          <ac:cxnSpMkLst>
            <pc:docMk/>
            <pc:sldMk cId="3432332875" sldId="745"/>
            <ac:cxnSpMk id="20" creationId="{348D7C3F-B83C-43A8-9D28-CCC9C4BBB069}"/>
          </ac:cxnSpMkLst>
        </pc:cxnChg>
        <pc:cxnChg chg="mod">
          <ac:chgData name="Perez Diaz, Karen" userId="17027623-4de6-4c48-9453-394c2c5804f8" providerId="ADAL" clId="{0DCB131B-3EFE-42DC-9206-7151797C1B48}" dt="2021-01-06T18:10:06.838" v="489" actId="164"/>
          <ac:cxnSpMkLst>
            <pc:docMk/>
            <pc:sldMk cId="3432332875" sldId="745"/>
            <ac:cxnSpMk id="25" creationId="{0FD92F1F-404B-4B75-922F-DC7CBDD99712}"/>
          </ac:cxnSpMkLst>
        </pc:cxnChg>
        <pc:cxnChg chg="mod">
          <ac:chgData name="Perez Diaz, Karen" userId="17027623-4de6-4c48-9453-394c2c5804f8" providerId="ADAL" clId="{0DCB131B-3EFE-42DC-9206-7151797C1B48}" dt="2021-01-06T18:10:06.838" v="489" actId="164"/>
          <ac:cxnSpMkLst>
            <pc:docMk/>
            <pc:sldMk cId="3432332875" sldId="745"/>
            <ac:cxnSpMk id="27" creationId="{241AE13A-CC4B-4DEF-B58D-790536D65968}"/>
          </ac:cxnSpMkLst>
        </pc:cxnChg>
        <pc:cxnChg chg="mod">
          <ac:chgData name="Perez Diaz, Karen" userId="17027623-4de6-4c48-9453-394c2c5804f8" providerId="ADAL" clId="{0DCB131B-3EFE-42DC-9206-7151797C1B48}" dt="2021-01-06T18:10:06.838" v="489" actId="164"/>
          <ac:cxnSpMkLst>
            <pc:docMk/>
            <pc:sldMk cId="3432332875" sldId="745"/>
            <ac:cxnSpMk id="31" creationId="{8FEF314A-9932-4F10-8E0C-6B6DF5F71CD9}"/>
          </ac:cxnSpMkLst>
        </pc:cxnChg>
        <pc:cxnChg chg="del mod">
          <ac:chgData name="Perez Diaz, Karen" userId="17027623-4de6-4c48-9453-394c2c5804f8" providerId="ADAL" clId="{0DCB131B-3EFE-42DC-9206-7151797C1B48}" dt="2021-01-06T18:09:37.002" v="486" actId="478"/>
          <ac:cxnSpMkLst>
            <pc:docMk/>
            <pc:sldMk cId="3432332875" sldId="745"/>
            <ac:cxnSpMk id="38" creationId="{7F2776A2-55FA-4901-8D56-61F7EDBF5378}"/>
          </ac:cxnSpMkLst>
        </pc:cxnChg>
        <pc:cxnChg chg="del mod">
          <ac:chgData name="Perez Diaz, Karen" userId="17027623-4de6-4c48-9453-394c2c5804f8" providerId="ADAL" clId="{0DCB131B-3EFE-42DC-9206-7151797C1B48}" dt="2021-01-06T18:17:36.768" v="662" actId="478"/>
          <ac:cxnSpMkLst>
            <pc:docMk/>
            <pc:sldMk cId="3432332875" sldId="745"/>
            <ac:cxnSpMk id="40" creationId="{41BF7768-DCB4-4368-9877-C2C93FF91055}"/>
          </ac:cxnSpMkLst>
        </pc:cxnChg>
        <pc:cxnChg chg="del mod">
          <ac:chgData name="Perez Diaz, Karen" userId="17027623-4de6-4c48-9453-394c2c5804f8" providerId="ADAL" clId="{0DCB131B-3EFE-42DC-9206-7151797C1B48}" dt="2021-01-06T18:17:37.759" v="663" actId="478"/>
          <ac:cxnSpMkLst>
            <pc:docMk/>
            <pc:sldMk cId="3432332875" sldId="745"/>
            <ac:cxnSpMk id="42" creationId="{3D295E1E-2075-4B22-857E-FD03C60F7025}"/>
          </ac:cxnSpMkLst>
        </pc:cxnChg>
        <pc:cxnChg chg="del mod">
          <ac:chgData name="Perez Diaz, Karen" userId="17027623-4de6-4c48-9453-394c2c5804f8" providerId="ADAL" clId="{0DCB131B-3EFE-42DC-9206-7151797C1B48}" dt="2021-01-06T18:09:37.002" v="486" actId="478"/>
          <ac:cxnSpMkLst>
            <pc:docMk/>
            <pc:sldMk cId="3432332875" sldId="745"/>
            <ac:cxnSpMk id="47" creationId="{027D99D2-D61F-43DD-88D9-A764AB3F4C74}"/>
          </ac:cxnSpMkLst>
        </pc:cxnChg>
        <pc:cxnChg chg="del mod">
          <ac:chgData name="Perez Diaz, Karen" userId="17027623-4de6-4c48-9453-394c2c5804f8" providerId="ADAL" clId="{0DCB131B-3EFE-42DC-9206-7151797C1B48}" dt="2021-01-06T18:17:39.231" v="665" actId="478"/>
          <ac:cxnSpMkLst>
            <pc:docMk/>
            <pc:sldMk cId="3432332875" sldId="745"/>
            <ac:cxnSpMk id="49" creationId="{EB1E3269-08BD-4913-A0C9-43F30A56D799}"/>
          </ac:cxnSpMkLst>
        </pc:cxnChg>
        <pc:cxnChg chg="del mod">
          <ac:chgData name="Perez Diaz, Karen" userId="17027623-4de6-4c48-9453-394c2c5804f8" providerId="ADAL" clId="{0DCB131B-3EFE-42DC-9206-7151797C1B48}" dt="2021-01-06T18:09:37.002" v="486" actId="478"/>
          <ac:cxnSpMkLst>
            <pc:docMk/>
            <pc:sldMk cId="3432332875" sldId="745"/>
            <ac:cxnSpMk id="52" creationId="{9A801628-898B-4840-8337-E3F4FCEE2F10}"/>
          </ac:cxnSpMkLst>
        </pc:cxnChg>
        <pc:cxnChg chg="mod">
          <ac:chgData name="Perez Diaz, Karen" userId="17027623-4de6-4c48-9453-394c2c5804f8" providerId="ADAL" clId="{0DCB131B-3EFE-42DC-9206-7151797C1B48}" dt="2021-01-06T18:10:06.838" v="489" actId="164"/>
          <ac:cxnSpMkLst>
            <pc:docMk/>
            <pc:sldMk cId="3432332875" sldId="745"/>
            <ac:cxnSpMk id="65" creationId="{9F79DEE4-32EB-4954-BB88-47EAFD90F0F2}"/>
          </ac:cxnSpMkLst>
        </pc:cxnChg>
        <pc:cxnChg chg="del mod">
          <ac:chgData name="Perez Diaz, Karen" userId="17027623-4de6-4c48-9453-394c2c5804f8" providerId="ADAL" clId="{0DCB131B-3EFE-42DC-9206-7151797C1B48}" dt="2021-01-06T18:17:38.559" v="664" actId="478"/>
          <ac:cxnSpMkLst>
            <pc:docMk/>
            <pc:sldMk cId="3432332875" sldId="745"/>
            <ac:cxnSpMk id="67" creationId="{BCC689C9-66DC-4DAB-980A-751E46C8B338}"/>
          </ac:cxnSpMkLst>
        </pc:cxnChg>
        <pc:cxnChg chg="mod">
          <ac:chgData name="Perez Diaz, Karen" userId="17027623-4de6-4c48-9453-394c2c5804f8" providerId="ADAL" clId="{0DCB131B-3EFE-42DC-9206-7151797C1B48}" dt="2021-01-06T18:20:06.590" v="701" actId="1036"/>
          <ac:cxnSpMkLst>
            <pc:docMk/>
            <pc:sldMk cId="3432332875" sldId="745"/>
            <ac:cxnSpMk id="77" creationId="{314B6B92-81D6-44CF-9D1E-2622F4B5CE26}"/>
          </ac:cxnSpMkLst>
        </pc:cxnChg>
        <pc:cxnChg chg="mod">
          <ac:chgData name="Perez Diaz, Karen" userId="17027623-4de6-4c48-9453-394c2c5804f8" providerId="ADAL" clId="{0DCB131B-3EFE-42DC-9206-7151797C1B48}" dt="2021-01-06T18:20:06.590" v="701" actId="1036"/>
          <ac:cxnSpMkLst>
            <pc:docMk/>
            <pc:sldMk cId="3432332875" sldId="745"/>
            <ac:cxnSpMk id="81" creationId="{55DB8148-7A1C-4214-95EB-96B315914489}"/>
          </ac:cxnSpMkLst>
        </pc:cxnChg>
        <pc:cxnChg chg="mod">
          <ac:chgData name="Perez Diaz, Karen" userId="17027623-4de6-4c48-9453-394c2c5804f8" providerId="ADAL" clId="{0DCB131B-3EFE-42DC-9206-7151797C1B48}" dt="2021-01-06T18:20:15.671" v="703" actId="14100"/>
          <ac:cxnSpMkLst>
            <pc:docMk/>
            <pc:sldMk cId="3432332875" sldId="745"/>
            <ac:cxnSpMk id="84" creationId="{AADD1580-86CE-41C9-929B-AFF18F97AB28}"/>
          </ac:cxnSpMkLst>
        </pc:cxnChg>
        <pc:cxnChg chg="mod">
          <ac:chgData name="Perez Diaz, Karen" userId="17027623-4de6-4c48-9453-394c2c5804f8" providerId="ADAL" clId="{0DCB131B-3EFE-42DC-9206-7151797C1B48}" dt="2021-01-06T18:20:13.100" v="702" actId="14100"/>
          <ac:cxnSpMkLst>
            <pc:docMk/>
            <pc:sldMk cId="3432332875" sldId="745"/>
            <ac:cxnSpMk id="87" creationId="{8CAD02B0-10A2-42DD-9545-75B043F5409C}"/>
          </ac:cxnSpMkLst>
        </pc:cxnChg>
        <pc:cxnChg chg="add mod">
          <ac:chgData name="Perez Diaz, Karen" userId="17027623-4de6-4c48-9453-394c2c5804f8" providerId="ADAL" clId="{0DCB131B-3EFE-42DC-9206-7151797C1B48}" dt="2021-01-06T21:14:47.780" v="1217" actId="1037"/>
          <ac:cxnSpMkLst>
            <pc:docMk/>
            <pc:sldMk cId="3432332875" sldId="745"/>
            <ac:cxnSpMk id="88" creationId="{20BFF8FF-A9AC-42B3-9E16-51EEF5013E4F}"/>
          </ac:cxnSpMkLst>
        </pc:cxnChg>
        <pc:cxnChg chg="add mod">
          <ac:chgData name="Perez Diaz, Karen" userId="17027623-4de6-4c48-9453-394c2c5804f8" providerId="ADAL" clId="{0DCB131B-3EFE-42DC-9206-7151797C1B48}" dt="2021-01-06T21:14:47.780" v="1217" actId="1037"/>
          <ac:cxnSpMkLst>
            <pc:docMk/>
            <pc:sldMk cId="3432332875" sldId="745"/>
            <ac:cxnSpMk id="89" creationId="{F6D0CAB7-E7FA-45CA-BA27-E6415FBC3475}"/>
          </ac:cxnSpMkLst>
        </pc:cxnChg>
        <pc:cxnChg chg="add mod">
          <ac:chgData name="Perez Diaz, Karen" userId="17027623-4de6-4c48-9453-394c2c5804f8" providerId="ADAL" clId="{0DCB131B-3EFE-42DC-9206-7151797C1B48}" dt="2021-01-06T21:14:47.780" v="1217" actId="1037"/>
          <ac:cxnSpMkLst>
            <pc:docMk/>
            <pc:sldMk cId="3432332875" sldId="745"/>
            <ac:cxnSpMk id="90" creationId="{22F02368-4E4D-4EAB-AD3D-C2A7672DF70E}"/>
          </ac:cxnSpMkLst>
        </pc:cxnChg>
        <pc:cxnChg chg="add mod">
          <ac:chgData name="Perez Diaz, Karen" userId="17027623-4de6-4c48-9453-394c2c5804f8" providerId="ADAL" clId="{0DCB131B-3EFE-42DC-9206-7151797C1B48}" dt="2021-01-06T21:14:47.780" v="1217" actId="1037"/>
          <ac:cxnSpMkLst>
            <pc:docMk/>
            <pc:sldMk cId="3432332875" sldId="745"/>
            <ac:cxnSpMk id="91" creationId="{2511CA12-2B29-4674-9F12-2D791F8D8A4F}"/>
          </ac:cxnSpMkLst>
        </pc:cxnChg>
        <pc:cxnChg chg="mod topLvl">
          <ac:chgData name="Perez Diaz, Karen" userId="17027623-4de6-4c48-9453-394c2c5804f8" providerId="ADAL" clId="{0DCB131B-3EFE-42DC-9206-7151797C1B48}" dt="2021-01-06T19:48:32.747" v="819" actId="1036"/>
          <ac:cxnSpMkLst>
            <pc:docMk/>
            <pc:sldMk cId="3432332875" sldId="745"/>
            <ac:cxnSpMk id="97" creationId="{58DDC82B-EB20-47E0-A6EB-37432190550A}"/>
          </ac:cxnSpMkLst>
        </pc:cxnChg>
        <pc:cxnChg chg="mod topLvl">
          <ac:chgData name="Perez Diaz, Karen" userId="17027623-4de6-4c48-9453-394c2c5804f8" providerId="ADAL" clId="{0DCB131B-3EFE-42DC-9206-7151797C1B48}" dt="2021-01-06T19:48:32.747" v="819" actId="1036"/>
          <ac:cxnSpMkLst>
            <pc:docMk/>
            <pc:sldMk cId="3432332875" sldId="745"/>
            <ac:cxnSpMk id="99" creationId="{4FA0C0ED-18E5-4A98-A616-A33DDBBCBF1B}"/>
          </ac:cxnSpMkLst>
        </pc:cxnChg>
        <pc:cxnChg chg="mod topLvl">
          <ac:chgData name="Perez Diaz, Karen" userId="17027623-4de6-4c48-9453-394c2c5804f8" providerId="ADAL" clId="{0DCB131B-3EFE-42DC-9206-7151797C1B48}" dt="2021-01-06T19:48:40.948" v="821" actId="1037"/>
          <ac:cxnSpMkLst>
            <pc:docMk/>
            <pc:sldMk cId="3432332875" sldId="745"/>
            <ac:cxnSpMk id="100" creationId="{F638B493-D75F-46C7-ACB7-3EA1A78A0875}"/>
          </ac:cxnSpMkLst>
        </pc:cxnChg>
        <pc:cxnChg chg="mod">
          <ac:chgData name="Perez Diaz, Karen" userId="17027623-4de6-4c48-9453-394c2c5804f8" providerId="ADAL" clId="{0DCB131B-3EFE-42DC-9206-7151797C1B48}" dt="2021-01-06T18:20:27.243" v="709" actId="1035"/>
          <ac:cxnSpMkLst>
            <pc:docMk/>
            <pc:sldMk cId="3432332875" sldId="745"/>
            <ac:cxnSpMk id="101" creationId="{71581115-D1D8-47EE-9B9C-6BF539D02058}"/>
          </ac:cxnSpMkLst>
        </pc:cxnChg>
        <pc:cxnChg chg="mod topLvl">
          <ac:chgData name="Perez Diaz, Karen" userId="17027623-4de6-4c48-9453-394c2c5804f8" providerId="ADAL" clId="{0DCB131B-3EFE-42DC-9206-7151797C1B48}" dt="2021-01-06T19:48:20.186" v="810" actId="165"/>
          <ac:cxnSpMkLst>
            <pc:docMk/>
            <pc:sldMk cId="3432332875" sldId="745"/>
            <ac:cxnSpMk id="106" creationId="{4B691A17-3347-4844-8733-94791245654E}"/>
          </ac:cxnSpMkLst>
        </pc:cxnChg>
        <pc:cxnChg chg="mod">
          <ac:chgData name="Perez Diaz, Karen" userId="17027623-4de6-4c48-9453-394c2c5804f8" providerId="ADAL" clId="{0DCB131B-3EFE-42DC-9206-7151797C1B48}" dt="2021-01-06T18:21:27.900" v="715" actId="1036"/>
          <ac:cxnSpMkLst>
            <pc:docMk/>
            <pc:sldMk cId="3432332875" sldId="745"/>
            <ac:cxnSpMk id="127" creationId="{70FC9D0E-23B7-4805-9408-10A2CC1928CB}"/>
          </ac:cxnSpMkLst>
        </pc:cxnChg>
        <pc:cxnChg chg="mod">
          <ac:chgData name="Perez Diaz, Karen" userId="17027623-4de6-4c48-9453-394c2c5804f8" providerId="ADAL" clId="{0DCB131B-3EFE-42DC-9206-7151797C1B48}" dt="2021-01-06T18:20:27.243" v="709" actId="1035"/>
          <ac:cxnSpMkLst>
            <pc:docMk/>
            <pc:sldMk cId="3432332875" sldId="745"/>
            <ac:cxnSpMk id="147" creationId="{0D416717-3121-4A3B-9438-B3E3297B2148}"/>
          </ac:cxnSpMkLst>
        </pc:cxnChg>
        <pc:cxnChg chg="add del mod">
          <ac:chgData name="Perez Diaz, Karen" userId="17027623-4de6-4c48-9453-394c2c5804f8" providerId="ADAL" clId="{0DCB131B-3EFE-42DC-9206-7151797C1B48}" dt="2021-01-06T18:07:52.815" v="417" actId="478"/>
          <ac:cxnSpMkLst>
            <pc:docMk/>
            <pc:sldMk cId="3432332875" sldId="745"/>
            <ac:cxnSpMk id="151" creationId="{DDBE657C-AC66-455B-8C66-456C193C55A9}"/>
          </ac:cxnSpMkLst>
        </pc:cxnChg>
        <pc:cxnChg chg="mod">
          <ac:chgData name="Perez Diaz, Karen" userId="17027623-4de6-4c48-9453-394c2c5804f8" providerId="ADAL" clId="{0DCB131B-3EFE-42DC-9206-7151797C1B48}" dt="2021-01-06T18:19:38.416" v="688" actId="1036"/>
          <ac:cxnSpMkLst>
            <pc:docMk/>
            <pc:sldMk cId="3432332875" sldId="745"/>
            <ac:cxnSpMk id="154" creationId="{B8C55DC1-E75A-49E4-8B2D-210BEFBDC56D}"/>
          </ac:cxnSpMkLst>
        </pc:cxnChg>
        <pc:cxnChg chg="mod">
          <ac:chgData name="Perez Diaz, Karen" userId="17027623-4de6-4c48-9453-394c2c5804f8" providerId="ADAL" clId="{0DCB131B-3EFE-42DC-9206-7151797C1B48}" dt="2021-01-06T18:10:06.838" v="489" actId="164"/>
          <ac:cxnSpMkLst>
            <pc:docMk/>
            <pc:sldMk cId="3432332875" sldId="745"/>
            <ac:cxnSpMk id="203" creationId="{C8A4CE5A-2494-44D7-B7F2-6D9571F3E921}"/>
          </ac:cxnSpMkLst>
        </pc:cxnChg>
      </pc:sldChg>
      <pc:sldChg chg="modSp add">
        <pc:chgData name="Perez Diaz, Karen" userId="17027623-4de6-4c48-9453-394c2c5804f8" providerId="ADAL" clId="{0DCB131B-3EFE-42DC-9206-7151797C1B48}" dt="2021-01-06T21:49:28.416" v="2300" actId="1036"/>
        <pc:sldMkLst>
          <pc:docMk/>
          <pc:sldMk cId="1408628016" sldId="746"/>
        </pc:sldMkLst>
        <pc:spChg chg="mod">
          <ac:chgData name="Perez Diaz, Karen" userId="17027623-4de6-4c48-9453-394c2c5804f8" providerId="ADAL" clId="{0DCB131B-3EFE-42DC-9206-7151797C1B48}" dt="2021-01-06T21:44:49.525" v="2261" actId="6549"/>
          <ac:spMkLst>
            <pc:docMk/>
            <pc:sldMk cId="1408628016" sldId="746"/>
            <ac:spMk id="2" creationId="{EEB2DB48-F55E-46AE-9540-691925464E4C}"/>
          </ac:spMkLst>
        </pc:spChg>
        <pc:spChg chg="mod">
          <ac:chgData name="Perez Diaz, Karen" userId="17027623-4de6-4c48-9453-394c2c5804f8" providerId="ADAL" clId="{0DCB131B-3EFE-42DC-9206-7151797C1B48}" dt="2021-01-06T21:40:59.490" v="2217" actId="113"/>
          <ac:spMkLst>
            <pc:docMk/>
            <pc:sldMk cId="1408628016" sldId="746"/>
            <ac:spMk id="14" creationId="{F6B3E33B-279A-4B57-A0C7-AFD4CB2BA78F}"/>
          </ac:spMkLst>
        </pc:spChg>
        <pc:spChg chg="mod">
          <ac:chgData name="Perez Diaz, Karen" userId="17027623-4de6-4c48-9453-394c2c5804f8" providerId="ADAL" clId="{0DCB131B-3EFE-42DC-9206-7151797C1B48}" dt="2021-01-06T21:42:01.738" v="2229" actId="1076"/>
          <ac:spMkLst>
            <pc:docMk/>
            <pc:sldMk cId="1408628016" sldId="746"/>
            <ac:spMk id="36" creationId="{B1C07FB1-E4F7-46B0-9153-B6C0A2878CC2}"/>
          </ac:spMkLst>
        </pc:spChg>
        <pc:spChg chg="mod">
          <ac:chgData name="Perez Diaz, Karen" userId="17027623-4de6-4c48-9453-394c2c5804f8" providerId="ADAL" clId="{0DCB131B-3EFE-42DC-9206-7151797C1B48}" dt="2021-01-06T21:44:05.420" v="2255" actId="1076"/>
          <ac:spMkLst>
            <pc:docMk/>
            <pc:sldMk cId="1408628016" sldId="746"/>
            <ac:spMk id="56" creationId="{7712ABA7-5E5F-4307-8A3E-1B769689DCE0}"/>
          </ac:spMkLst>
        </pc:spChg>
        <pc:spChg chg="mod">
          <ac:chgData name="Perez Diaz, Karen" userId="17027623-4de6-4c48-9453-394c2c5804f8" providerId="ADAL" clId="{0DCB131B-3EFE-42DC-9206-7151797C1B48}" dt="2021-01-06T21:43:38.601" v="2243" actId="1035"/>
          <ac:spMkLst>
            <pc:docMk/>
            <pc:sldMk cId="1408628016" sldId="746"/>
            <ac:spMk id="58" creationId="{7F4B5AAA-0867-41C7-AF87-85C4112B3E8C}"/>
          </ac:spMkLst>
        </pc:spChg>
        <pc:spChg chg="mod">
          <ac:chgData name="Perez Diaz, Karen" userId="17027623-4de6-4c48-9453-394c2c5804f8" providerId="ADAL" clId="{0DCB131B-3EFE-42DC-9206-7151797C1B48}" dt="2021-01-06T21:41:44.511" v="2227" actId="1076"/>
          <ac:spMkLst>
            <pc:docMk/>
            <pc:sldMk cId="1408628016" sldId="746"/>
            <ac:spMk id="64" creationId="{FCC3EBC2-9D0D-47EA-B152-51B9C42AFCE8}"/>
          </ac:spMkLst>
        </pc:spChg>
        <pc:spChg chg="mod">
          <ac:chgData name="Perez Diaz, Karen" userId="17027623-4de6-4c48-9453-394c2c5804f8" providerId="ADAL" clId="{0DCB131B-3EFE-42DC-9206-7151797C1B48}" dt="2021-01-06T21:41:38.818" v="2226" actId="1037"/>
          <ac:spMkLst>
            <pc:docMk/>
            <pc:sldMk cId="1408628016" sldId="746"/>
            <ac:spMk id="68" creationId="{8297072D-5A85-4366-B2F8-CF75DDD93FCF}"/>
          </ac:spMkLst>
        </pc:spChg>
        <pc:spChg chg="mod">
          <ac:chgData name="Perez Diaz, Karen" userId="17027623-4de6-4c48-9453-394c2c5804f8" providerId="ADAL" clId="{0DCB131B-3EFE-42DC-9206-7151797C1B48}" dt="2021-01-06T21:43:44.154" v="2244" actId="14100"/>
          <ac:spMkLst>
            <pc:docMk/>
            <pc:sldMk cId="1408628016" sldId="746"/>
            <ac:spMk id="83" creationId="{0657F353-E59F-457A-85B2-BB2DACBD2597}"/>
          </ac:spMkLst>
        </pc:spChg>
        <pc:spChg chg="mod">
          <ac:chgData name="Perez Diaz, Karen" userId="17027623-4de6-4c48-9453-394c2c5804f8" providerId="ADAL" clId="{0DCB131B-3EFE-42DC-9206-7151797C1B48}" dt="2021-01-06T21:43:50.207" v="2254" actId="1036"/>
          <ac:spMkLst>
            <pc:docMk/>
            <pc:sldMk cId="1408628016" sldId="746"/>
            <ac:spMk id="111" creationId="{BFE84C98-41FA-487B-9228-92CF6F468B5E}"/>
          </ac:spMkLst>
        </pc:spChg>
        <pc:spChg chg="mod">
          <ac:chgData name="Perez Diaz, Karen" userId="17027623-4de6-4c48-9453-394c2c5804f8" providerId="ADAL" clId="{0DCB131B-3EFE-42DC-9206-7151797C1B48}" dt="2021-01-06T21:43:50.207" v="2254" actId="1036"/>
          <ac:spMkLst>
            <pc:docMk/>
            <pc:sldMk cId="1408628016" sldId="746"/>
            <ac:spMk id="118" creationId="{42752276-35F2-4455-B23C-6798F26C5A7A}"/>
          </ac:spMkLst>
        </pc:spChg>
        <pc:spChg chg="mod">
          <ac:chgData name="Perez Diaz, Karen" userId="17027623-4de6-4c48-9453-394c2c5804f8" providerId="ADAL" clId="{0DCB131B-3EFE-42DC-9206-7151797C1B48}" dt="2021-01-06T21:49:28.416" v="2300" actId="1036"/>
          <ac:spMkLst>
            <pc:docMk/>
            <pc:sldMk cId="1408628016" sldId="746"/>
            <ac:spMk id="126" creationId="{069C4E0B-1A1F-45B3-A9F7-03B17BA99E1E}"/>
          </ac:spMkLst>
        </pc:spChg>
        <pc:spChg chg="mod">
          <ac:chgData name="Perez Diaz, Karen" userId="17027623-4de6-4c48-9453-394c2c5804f8" providerId="ADAL" clId="{0DCB131B-3EFE-42DC-9206-7151797C1B48}" dt="2021-01-06T21:41:18.476" v="2219" actId="255"/>
          <ac:spMkLst>
            <pc:docMk/>
            <pc:sldMk cId="1408628016" sldId="746"/>
            <ac:spMk id="141" creationId="{3231908A-63C5-4A92-8237-8F802B4963CA}"/>
          </ac:spMkLst>
        </pc:spChg>
        <pc:spChg chg="mod">
          <ac:chgData name="Perez Diaz, Karen" userId="17027623-4de6-4c48-9453-394c2c5804f8" providerId="ADAL" clId="{0DCB131B-3EFE-42DC-9206-7151797C1B48}" dt="2021-01-06T21:37:58.077" v="2196" actId="113"/>
          <ac:spMkLst>
            <pc:docMk/>
            <pc:sldMk cId="1408628016" sldId="746"/>
            <ac:spMk id="144" creationId="{628851C3-29FF-4AEB-84AD-5A7BF1B355EA}"/>
          </ac:spMkLst>
        </pc:spChg>
        <pc:cxnChg chg="mod">
          <ac:chgData name="Perez Diaz, Karen" userId="17027623-4de6-4c48-9453-394c2c5804f8" providerId="ADAL" clId="{0DCB131B-3EFE-42DC-9206-7151797C1B48}" dt="2021-01-06T21:43:11.723" v="2234" actId="14100"/>
          <ac:cxnSpMkLst>
            <pc:docMk/>
            <pc:sldMk cId="1408628016" sldId="746"/>
            <ac:cxnSpMk id="149" creationId="{E9690DFE-1150-4C27-8775-F8344363AE9F}"/>
          </ac:cxnSpMkLst>
        </pc:cxnChg>
        <pc:cxnChg chg="mod">
          <ac:chgData name="Perez Diaz, Karen" userId="17027623-4de6-4c48-9453-394c2c5804f8" providerId="ADAL" clId="{0DCB131B-3EFE-42DC-9206-7151797C1B48}" dt="2021-01-06T21:43:07.724" v="2233" actId="14100"/>
          <ac:cxnSpMkLst>
            <pc:docMk/>
            <pc:sldMk cId="1408628016" sldId="746"/>
            <ac:cxnSpMk id="150" creationId="{D9BBAC7A-AF9F-4222-B145-6770CC93AD49}"/>
          </ac:cxnSpMkLst>
        </pc:cxnChg>
        <pc:cxnChg chg="mod">
          <ac:chgData name="Perez Diaz, Karen" userId="17027623-4de6-4c48-9453-394c2c5804f8" providerId="ADAL" clId="{0DCB131B-3EFE-42DC-9206-7151797C1B48}" dt="2021-01-06T21:43:14.769" v="2235" actId="14100"/>
          <ac:cxnSpMkLst>
            <pc:docMk/>
            <pc:sldMk cId="1408628016" sldId="746"/>
            <ac:cxnSpMk id="151" creationId="{8FBD3D58-CFFE-485A-B97C-ABA0D8E93C81}"/>
          </ac:cxnSpMkLst>
        </pc:cxnChg>
        <pc:cxnChg chg="mod">
          <ac:chgData name="Perez Diaz, Karen" userId="17027623-4de6-4c48-9453-394c2c5804f8" providerId="ADAL" clId="{0DCB131B-3EFE-42DC-9206-7151797C1B48}" dt="2021-01-06T21:46:29.472" v="2271" actId="14100"/>
          <ac:cxnSpMkLst>
            <pc:docMk/>
            <pc:sldMk cId="1408628016" sldId="746"/>
            <ac:cxnSpMk id="152" creationId="{514BFF4E-22EB-4C36-B1DB-70558BF1F690}"/>
          </ac:cxnSpMkLst>
        </pc:cxnChg>
        <pc:cxnChg chg="mod">
          <ac:chgData name="Perez Diaz, Karen" userId="17027623-4de6-4c48-9453-394c2c5804f8" providerId="ADAL" clId="{0DCB131B-3EFE-42DC-9206-7151797C1B48}" dt="2021-01-06T21:47:21.167" v="2279" actId="14100"/>
          <ac:cxnSpMkLst>
            <pc:docMk/>
            <pc:sldMk cId="1408628016" sldId="746"/>
            <ac:cxnSpMk id="153" creationId="{BE8D0180-3C9F-43DE-A735-6E9681C3D968}"/>
          </ac:cxnSpMkLst>
        </pc:cxnChg>
        <pc:cxnChg chg="mod">
          <ac:chgData name="Perez Diaz, Karen" userId="17027623-4de6-4c48-9453-394c2c5804f8" providerId="ADAL" clId="{0DCB131B-3EFE-42DC-9206-7151797C1B48}" dt="2021-01-06T21:43:50.207" v="2254" actId="1036"/>
          <ac:cxnSpMkLst>
            <pc:docMk/>
            <pc:sldMk cId="1408628016" sldId="746"/>
            <ac:cxnSpMk id="154" creationId="{B8C55DC1-E75A-49E4-8B2D-210BEFBDC56D}"/>
          </ac:cxnSpMkLst>
        </pc:cxnChg>
        <pc:cxnChg chg="mod">
          <ac:chgData name="Perez Diaz, Karen" userId="17027623-4de6-4c48-9453-394c2c5804f8" providerId="ADAL" clId="{0DCB131B-3EFE-42DC-9206-7151797C1B48}" dt="2021-01-06T21:47:06.807" v="2278" actId="14100"/>
          <ac:cxnSpMkLst>
            <pc:docMk/>
            <pc:sldMk cId="1408628016" sldId="746"/>
            <ac:cxnSpMk id="155" creationId="{F8015480-B5E2-46CE-9A74-EA3DEC2E5210}"/>
          </ac:cxnSpMkLst>
        </pc:cxnChg>
        <pc:cxnChg chg="mod">
          <ac:chgData name="Perez Diaz, Karen" userId="17027623-4de6-4c48-9453-394c2c5804f8" providerId="ADAL" clId="{0DCB131B-3EFE-42DC-9206-7151797C1B48}" dt="2021-01-06T21:47:01.511" v="2277" actId="14100"/>
          <ac:cxnSpMkLst>
            <pc:docMk/>
            <pc:sldMk cId="1408628016" sldId="746"/>
            <ac:cxnSpMk id="156" creationId="{EB8C3AAD-81D1-4DC9-AA5D-303F9E84CDBF}"/>
          </ac:cxnSpMkLst>
        </pc:cxnChg>
      </pc:sldChg>
      <pc:sldChg chg="addSp delSp modSp add del">
        <pc:chgData name="Perez Diaz, Karen" userId="17027623-4de6-4c48-9453-394c2c5804f8" providerId="ADAL" clId="{0DCB131B-3EFE-42DC-9206-7151797C1B48}" dt="2021-01-06T21:34:46.377" v="2192" actId="2696"/>
        <pc:sldMkLst>
          <pc:docMk/>
          <pc:sldMk cId="2048718066" sldId="746"/>
        </pc:sldMkLst>
        <pc:spChg chg="mod">
          <ac:chgData name="Perez Diaz, Karen" userId="17027623-4de6-4c48-9453-394c2c5804f8" providerId="ADAL" clId="{0DCB131B-3EFE-42DC-9206-7151797C1B48}" dt="2021-01-06T21:15:45.860" v="1226" actId="20577"/>
          <ac:spMkLst>
            <pc:docMk/>
            <pc:sldMk cId="2048718066" sldId="746"/>
            <ac:spMk id="2" creationId="{EEB2DB48-F55E-46AE-9540-691925464E4C}"/>
          </ac:spMkLst>
        </pc:spChg>
        <pc:spChg chg="mod">
          <ac:chgData name="Perez Diaz, Karen" userId="17027623-4de6-4c48-9453-394c2c5804f8" providerId="ADAL" clId="{0DCB131B-3EFE-42DC-9206-7151797C1B48}" dt="2021-01-06T21:32:11.226" v="2189" actId="1038"/>
          <ac:spMkLst>
            <pc:docMk/>
            <pc:sldMk cId="2048718066" sldId="746"/>
            <ac:spMk id="58" creationId="{7F4B5AAA-0867-41C7-AF87-85C4112B3E8C}"/>
          </ac:spMkLst>
        </pc:spChg>
        <pc:spChg chg="mod">
          <ac:chgData name="Perez Diaz, Karen" userId="17027623-4de6-4c48-9453-394c2c5804f8" providerId="ADAL" clId="{0DCB131B-3EFE-42DC-9206-7151797C1B48}" dt="2021-01-06T21:32:11.226" v="2189" actId="1038"/>
          <ac:spMkLst>
            <pc:docMk/>
            <pc:sldMk cId="2048718066" sldId="746"/>
            <ac:spMk id="64" creationId="{FCC3EBC2-9D0D-47EA-B152-51B9C42AFCE8}"/>
          </ac:spMkLst>
        </pc:spChg>
        <pc:spChg chg="mod">
          <ac:chgData name="Perez Diaz, Karen" userId="17027623-4de6-4c48-9453-394c2c5804f8" providerId="ADAL" clId="{0DCB131B-3EFE-42DC-9206-7151797C1B48}" dt="2021-01-06T21:32:11.226" v="2189" actId="1038"/>
          <ac:spMkLst>
            <pc:docMk/>
            <pc:sldMk cId="2048718066" sldId="746"/>
            <ac:spMk id="68" creationId="{8297072D-5A85-4366-B2F8-CF75DDD93FCF}"/>
          </ac:spMkLst>
        </pc:spChg>
        <pc:spChg chg="add del ord">
          <ac:chgData name="Perez Diaz, Karen" userId="17027623-4de6-4c48-9453-394c2c5804f8" providerId="ADAL" clId="{0DCB131B-3EFE-42DC-9206-7151797C1B48}" dt="2021-01-06T21:20:21.564" v="1752" actId="478"/>
          <ac:spMkLst>
            <pc:docMk/>
            <pc:sldMk cId="2048718066" sldId="746"/>
            <ac:spMk id="82" creationId="{D2C7C7FE-D8A0-42F4-B1BD-CA7CE7183444}"/>
          </ac:spMkLst>
        </pc:spChg>
        <pc:spChg chg="add mod ord">
          <ac:chgData name="Perez Diaz, Karen" userId="17027623-4de6-4c48-9453-394c2c5804f8" providerId="ADAL" clId="{0DCB131B-3EFE-42DC-9206-7151797C1B48}" dt="2021-01-06T21:28:00.271" v="2105" actId="1037"/>
          <ac:spMkLst>
            <pc:docMk/>
            <pc:sldMk cId="2048718066" sldId="746"/>
            <ac:spMk id="83" creationId="{0657F353-E59F-457A-85B2-BB2DACBD2597}"/>
          </ac:spMkLst>
        </pc:spChg>
        <pc:spChg chg="add mod">
          <ac:chgData name="Perez Diaz, Karen" userId="17027623-4de6-4c48-9453-394c2c5804f8" providerId="ADAL" clId="{0DCB131B-3EFE-42DC-9206-7151797C1B48}" dt="2021-01-06T21:21:57.102" v="1942" actId="571"/>
          <ac:spMkLst>
            <pc:docMk/>
            <pc:sldMk cId="2048718066" sldId="746"/>
            <ac:spMk id="92" creationId="{38F05D27-B49E-445C-B34D-DD30E0080626}"/>
          </ac:spMkLst>
        </pc:spChg>
        <pc:spChg chg="mod">
          <ac:chgData name="Perez Diaz, Karen" userId="17027623-4de6-4c48-9453-394c2c5804f8" providerId="ADAL" clId="{0DCB131B-3EFE-42DC-9206-7151797C1B48}" dt="2021-01-06T21:17:23.759" v="1242" actId="164"/>
          <ac:spMkLst>
            <pc:docMk/>
            <pc:sldMk cId="2048718066" sldId="746"/>
            <ac:spMk id="93" creationId="{792E0B45-1391-4BC6-8986-26E404F3B518}"/>
          </ac:spMkLst>
        </pc:spChg>
        <pc:spChg chg="del mod topLvl">
          <ac:chgData name="Perez Diaz, Karen" userId="17027623-4de6-4c48-9453-394c2c5804f8" providerId="ADAL" clId="{0DCB131B-3EFE-42DC-9206-7151797C1B48}" dt="2021-01-06T21:23:45.315" v="1969" actId="478"/>
          <ac:spMkLst>
            <pc:docMk/>
            <pc:sldMk cId="2048718066" sldId="746"/>
            <ac:spMk id="94" creationId="{40842276-A91A-40C2-B4E1-59432F9A3A28}"/>
          </ac:spMkLst>
        </pc:spChg>
        <pc:spChg chg="mod">
          <ac:chgData name="Perez Diaz, Karen" userId="17027623-4de6-4c48-9453-394c2c5804f8" providerId="ADAL" clId="{0DCB131B-3EFE-42DC-9206-7151797C1B48}" dt="2021-01-06T21:17:23.759" v="1242" actId="164"/>
          <ac:spMkLst>
            <pc:docMk/>
            <pc:sldMk cId="2048718066" sldId="746"/>
            <ac:spMk id="95" creationId="{2EEF3D7B-0209-45A3-8234-DF5C3A5823AE}"/>
          </ac:spMkLst>
        </pc:spChg>
        <pc:spChg chg="mod">
          <ac:chgData name="Perez Diaz, Karen" userId="17027623-4de6-4c48-9453-394c2c5804f8" providerId="ADAL" clId="{0DCB131B-3EFE-42DC-9206-7151797C1B48}" dt="2021-01-06T21:17:23.759" v="1242" actId="164"/>
          <ac:spMkLst>
            <pc:docMk/>
            <pc:sldMk cId="2048718066" sldId="746"/>
            <ac:spMk id="96" creationId="{F9AACBE0-D4FE-40D6-8E00-40DDF636A60D}"/>
          </ac:spMkLst>
        </pc:spChg>
        <pc:spChg chg="mod">
          <ac:chgData name="Perez Diaz, Karen" userId="17027623-4de6-4c48-9453-394c2c5804f8" providerId="ADAL" clId="{0DCB131B-3EFE-42DC-9206-7151797C1B48}" dt="2021-01-06T21:17:23.759" v="1242" actId="164"/>
          <ac:spMkLst>
            <pc:docMk/>
            <pc:sldMk cId="2048718066" sldId="746"/>
            <ac:spMk id="98" creationId="{EFE86654-5D76-41A0-8C66-6E4B2C321E95}"/>
          </ac:spMkLst>
        </pc:spChg>
        <pc:spChg chg="mod">
          <ac:chgData name="Perez Diaz, Karen" userId="17027623-4de6-4c48-9453-394c2c5804f8" providerId="ADAL" clId="{0DCB131B-3EFE-42DC-9206-7151797C1B48}" dt="2021-01-06T21:17:23.759" v="1242" actId="164"/>
          <ac:spMkLst>
            <pc:docMk/>
            <pc:sldMk cId="2048718066" sldId="746"/>
            <ac:spMk id="103" creationId="{05030A7C-7089-4C44-9D97-0A4A960E7D44}"/>
          </ac:spMkLst>
        </pc:spChg>
        <pc:spChg chg="add mod">
          <ac:chgData name="Perez Diaz, Karen" userId="17027623-4de6-4c48-9453-394c2c5804f8" providerId="ADAL" clId="{0DCB131B-3EFE-42DC-9206-7151797C1B48}" dt="2021-01-06T21:21:57.102" v="1942" actId="571"/>
          <ac:spMkLst>
            <pc:docMk/>
            <pc:sldMk cId="2048718066" sldId="746"/>
            <ac:spMk id="104" creationId="{5FD6C2E6-EB10-4E24-94A0-92B88DC95228}"/>
          </ac:spMkLst>
        </pc:spChg>
        <pc:spChg chg="mod">
          <ac:chgData name="Perez Diaz, Karen" userId="17027623-4de6-4c48-9453-394c2c5804f8" providerId="ADAL" clId="{0DCB131B-3EFE-42DC-9206-7151797C1B48}" dt="2021-01-06T21:22:17.024" v="1951" actId="1036"/>
          <ac:spMkLst>
            <pc:docMk/>
            <pc:sldMk cId="2048718066" sldId="746"/>
            <ac:spMk id="111" creationId="{BFE84C98-41FA-487B-9228-92CF6F468B5E}"/>
          </ac:spMkLst>
        </pc:spChg>
        <pc:spChg chg="mod">
          <ac:chgData name="Perez Diaz, Karen" userId="17027623-4de6-4c48-9453-394c2c5804f8" providerId="ADAL" clId="{0DCB131B-3EFE-42DC-9206-7151797C1B48}" dt="2021-01-06T21:22:17.024" v="1951" actId="1036"/>
          <ac:spMkLst>
            <pc:docMk/>
            <pc:sldMk cId="2048718066" sldId="746"/>
            <ac:spMk id="118" creationId="{42752276-35F2-4455-B23C-6798F26C5A7A}"/>
          </ac:spMkLst>
        </pc:spChg>
        <pc:spChg chg="del mod ord">
          <ac:chgData name="Perez Diaz, Karen" userId="17027623-4de6-4c48-9453-394c2c5804f8" providerId="ADAL" clId="{0DCB131B-3EFE-42DC-9206-7151797C1B48}" dt="2021-01-06T21:17:10.444" v="1241" actId="478"/>
          <ac:spMkLst>
            <pc:docMk/>
            <pc:sldMk cId="2048718066" sldId="746"/>
            <ac:spMk id="123" creationId="{FC29B034-AF17-4B3B-AB22-B23A8DC79CE6}"/>
          </ac:spMkLst>
        </pc:spChg>
        <pc:spChg chg="mod">
          <ac:chgData name="Perez Diaz, Karen" userId="17027623-4de6-4c48-9453-394c2c5804f8" providerId="ADAL" clId="{0DCB131B-3EFE-42DC-9206-7151797C1B48}" dt="2021-01-06T21:17:23.759" v="1242" actId="164"/>
          <ac:spMkLst>
            <pc:docMk/>
            <pc:sldMk cId="2048718066" sldId="746"/>
            <ac:spMk id="124" creationId="{1ECA2753-F0C9-48A2-8D58-3F7CE2326C07}"/>
          </ac:spMkLst>
        </pc:spChg>
        <pc:spChg chg="add del">
          <ac:chgData name="Perez Diaz, Karen" userId="17027623-4de6-4c48-9453-394c2c5804f8" providerId="ADAL" clId="{0DCB131B-3EFE-42DC-9206-7151797C1B48}" dt="2021-01-06T21:24:49.880" v="1972"/>
          <ac:spMkLst>
            <pc:docMk/>
            <pc:sldMk cId="2048718066" sldId="746"/>
            <ac:spMk id="125" creationId="{FCB2E35C-255A-453F-A4D5-E066F1E3CD5F}"/>
          </ac:spMkLst>
        </pc:spChg>
        <pc:spChg chg="add mod">
          <ac:chgData name="Perez Diaz, Karen" userId="17027623-4de6-4c48-9453-394c2c5804f8" providerId="ADAL" clId="{0DCB131B-3EFE-42DC-9206-7151797C1B48}" dt="2021-01-06T21:25:48.359" v="1999" actId="1036"/>
          <ac:spMkLst>
            <pc:docMk/>
            <pc:sldMk cId="2048718066" sldId="746"/>
            <ac:spMk id="126" creationId="{069C4E0B-1A1F-45B3-A9F7-03B17BA99E1E}"/>
          </ac:spMkLst>
        </pc:spChg>
        <pc:spChg chg="add mod">
          <ac:chgData name="Perez Diaz, Karen" userId="17027623-4de6-4c48-9453-394c2c5804f8" providerId="ADAL" clId="{0DCB131B-3EFE-42DC-9206-7151797C1B48}" dt="2021-01-06T21:26:16.206" v="2021" actId="1036"/>
          <ac:spMkLst>
            <pc:docMk/>
            <pc:sldMk cId="2048718066" sldId="746"/>
            <ac:spMk id="128" creationId="{54981313-1EBB-4ABE-B4E7-423DAC3E6964}"/>
          </ac:spMkLst>
        </pc:spChg>
        <pc:spChg chg="add mod">
          <ac:chgData name="Perez Diaz, Karen" userId="17027623-4de6-4c48-9453-394c2c5804f8" providerId="ADAL" clId="{0DCB131B-3EFE-42DC-9206-7151797C1B48}" dt="2021-01-06T21:28:08.090" v="2112" actId="1037"/>
          <ac:spMkLst>
            <pc:docMk/>
            <pc:sldMk cId="2048718066" sldId="746"/>
            <ac:spMk id="129" creationId="{6454F3A4-2FDF-41A1-AF0F-A01AD7939C5C}"/>
          </ac:spMkLst>
        </pc:spChg>
        <pc:spChg chg="add mod">
          <ac:chgData name="Perez Diaz, Karen" userId="17027623-4de6-4c48-9453-394c2c5804f8" providerId="ADAL" clId="{0DCB131B-3EFE-42DC-9206-7151797C1B48}" dt="2021-01-06T21:28:08.090" v="2112" actId="1037"/>
          <ac:spMkLst>
            <pc:docMk/>
            <pc:sldMk cId="2048718066" sldId="746"/>
            <ac:spMk id="130" creationId="{DD1898C0-E91E-459C-9352-12D5855B2E1C}"/>
          </ac:spMkLst>
        </pc:spChg>
        <pc:spChg chg="add mod">
          <ac:chgData name="Perez Diaz, Karen" userId="17027623-4de6-4c48-9453-394c2c5804f8" providerId="ADAL" clId="{0DCB131B-3EFE-42DC-9206-7151797C1B48}" dt="2021-01-06T21:29:18.695" v="2152" actId="1038"/>
          <ac:spMkLst>
            <pc:docMk/>
            <pc:sldMk cId="2048718066" sldId="746"/>
            <ac:spMk id="131" creationId="{9824804E-F88D-4751-9CC5-D3BAED53C87E}"/>
          </ac:spMkLst>
        </pc:spChg>
        <pc:spChg chg="add mod">
          <ac:chgData name="Perez Diaz, Karen" userId="17027623-4de6-4c48-9453-394c2c5804f8" providerId="ADAL" clId="{0DCB131B-3EFE-42DC-9206-7151797C1B48}" dt="2021-01-06T21:27:50.971" v="2099" actId="1035"/>
          <ac:spMkLst>
            <pc:docMk/>
            <pc:sldMk cId="2048718066" sldId="746"/>
            <ac:spMk id="133" creationId="{654A3199-06BB-4A99-8119-983BF78C97B4}"/>
          </ac:spMkLst>
        </pc:spChg>
        <pc:spChg chg="add del">
          <ac:chgData name="Perez Diaz, Karen" userId="17027623-4de6-4c48-9453-394c2c5804f8" providerId="ADAL" clId="{0DCB131B-3EFE-42DC-9206-7151797C1B48}" dt="2021-01-06T21:26:35.204" v="2034" actId="478"/>
          <ac:spMkLst>
            <pc:docMk/>
            <pc:sldMk cId="2048718066" sldId="746"/>
            <ac:spMk id="136" creationId="{463FD722-0270-4360-91CA-4AB4241B0DB1}"/>
          </ac:spMkLst>
        </pc:spChg>
        <pc:spChg chg="add del mod">
          <ac:chgData name="Perez Diaz, Karen" userId="17027623-4de6-4c48-9453-394c2c5804f8" providerId="ADAL" clId="{0DCB131B-3EFE-42DC-9206-7151797C1B48}" dt="2021-01-06T21:26:39.836" v="2036" actId="478"/>
          <ac:spMkLst>
            <pc:docMk/>
            <pc:sldMk cId="2048718066" sldId="746"/>
            <ac:spMk id="137" creationId="{B60A729C-C74D-4A19-AE07-15C3899166CD}"/>
          </ac:spMkLst>
        </pc:spChg>
        <pc:spChg chg="add mod">
          <ac:chgData name="Perez Diaz, Karen" userId="17027623-4de6-4c48-9453-394c2c5804f8" providerId="ADAL" clId="{0DCB131B-3EFE-42DC-9206-7151797C1B48}" dt="2021-01-06T21:29:24.476" v="2153" actId="14100"/>
          <ac:spMkLst>
            <pc:docMk/>
            <pc:sldMk cId="2048718066" sldId="746"/>
            <ac:spMk id="138" creationId="{3AC812D2-03D7-4DA2-8511-F64773F3658E}"/>
          </ac:spMkLst>
        </pc:spChg>
        <pc:spChg chg="add">
          <ac:chgData name="Perez Diaz, Karen" userId="17027623-4de6-4c48-9453-394c2c5804f8" providerId="ADAL" clId="{0DCB131B-3EFE-42DC-9206-7151797C1B48}" dt="2021-01-06T21:25:29.133" v="1974"/>
          <ac:spMkLst>
            <pc:docMk/>
            <pc:sldMk cId="2048718066" sldId="746"/>
            <ac:spMk id="139" creationId="{8D405F13-8A40-4F84-89A1-02CC1632AC83}"/>
          </ac:spMkLst>
        </pc:spChg>
        <pc:spChg chg="add">
          <ac:chgData name="Perez Diaz, Karen" userId="17027623-4de6-4c48-9453-394c2c5804f8" providerId="ADAL" clId="{0DCB131B-3EFE-42DC-9206-7151797C1B48}" dt="2021-01-06T21:25:29.133" v="1974"/>
          <ac:spMkLst>
            <pc:docMk/>
            <pc:sldMk cId="2048718066" sldId="746"/>
            <ac:spMk id="140" creationId="{A58AD8F8-B552-475F-83F4-746B11CF975C}"/>
          </ac:spMkLst>
        </pc:spChg>
        <pc:spChg chg="add">
          <ac:chgData name="Perez Diaz, Karen" userId="17027623-4de6-4c48-9453-394c2c5804f8" providerId="ADAL" clId="{0DCB131B-3EFE-42DC-9206-7151797C1B48}" dt="2021-01-06T21:25:29.133" v="1974"/>
          <ac:spMkLst>
            <pc:docMk/>
            <pc:sldMk cId="2048718066" sldId="746"/>
            <ac:spMk id="141" creationId="{3231908A-63C5-4A92-8237-8F802B4963CA}"/>
          </ac:spMkLst>
        </pc:spChg>
        <pc:spChg chg="add mod">
          <ac:chgData name="Perez Diaz, Karen" userId="17027623-4de6-4c48-9453-394c2c5804f8" providerId="ADAL" clId="{0DCB131B-3EFE-42DC-9206-7151797C1B48}" dt="2021-01-06T21:28:48.981" v="2139" actId="1036"/>
          <ac:spMkLst>
            <pc:docMk/>
            <pc:sldMk cId="2048718066" sldId="746"/>
            <ac:spMk id="142" creationId="{D2B0A936-F76E-4629-9A4D-F8AFAFFA73C1}"/>
          </ac:spMkLst>
        </pc:spChg>
        <pc:spChg chg="add mod">
          <ac:chgData name="Perez Diaz, Karen" userId="17027623-4de6-4c48-9453-394c2c5804f8" providerId="ADAL" clId="{0DCB131B-3EFE-42DC-9206-7151797C1B48}" dt="2021-01-06T21:28:48.981" v="2139" actId="1036"/>
          <ac:spMkLst>
            <pc:docMk/>
            <pc:sldMk cId="2048718066" sldId="746"/>
            <ac:spMk id="143" creationId="{B1560042-AEDC-4B61-BDCE-44F7DDB3A4B3}"/>
          </ac:spMkLst>
        </pc:spChg>
        <pc:spChg chg="add mod">
          <ac:chgData name="Perez Diaz, Karen" userId="17027623-4de6-4c48-9453-394c2c5804f8" providerId="ADAL" clId="{0DCB131B-3EFE-42DC-9206-7151797C1B48}" dt="2021-01-06T21:28:48.981" v="2139" actId="1036"/>
          <ac:spMkLst>
            <pc:docMk/>
            <pc:sldMk cId="2048718066" sldId="746"/>
            <ac:spMk id="144" creationId="{628851C3-29FF-4AEB-84AD-5A7BF1B355EA}"/>
          </ac:spMkLst>
        </pc:spChg>
        <pc:spChg chg="add mod">
          <ac:chgData name="Perez Diaz, Karen" userId="17027623-4de6-4c48-9453-394c2c5804f8" providerId="ADAL" clId="{0DCB131B-3EFE-42DC-9206-7151797C1B48}" dt="2021-01-06T21:28:48.981" v="2139" actId="1036"/>
          <ac:spMkLst>
            <pc:docMk/>
            <pc:sldMk cId="2048718066" sldId="746"/>
            <ac:spMk id="145" creationId="{7D090A6A-19EC-4804-92DA-9F995A268B21}"/>
          </ac:spMkLst>
        </pc:spChg>
        <pc:spChg chg="add mod">
          <ac:chgData name="Perez Diaz, Karen" userId="17027623-4de6-4c48-9453-394c2c5804f8" providerId="ADAL" clId="{0DCB131B-3EFE-42DC-9206-7151797C1B48}" dt="2021-01-06T21:28:57.571" v="2141" actId="571"/>
          <ac:spMkLst>
            <pc:docMk/>
            <pc:sldMk cId="2048718066" sldId="746"/>
            <ac:spMk id="146" creationId="{904FF7F0-C3A7-45D0-B933-9593A6251C5E}"/>
          </ac:spMkLst>
        </pc:spChg>
        <pc:grpChg chg="add mod">
          <ac:chgData name="Perez Diaz, Karen" userId="17027623-4de6-4c48-9453-394c2c5804f8" providerId="ADAL" clId="{0DCB131B-3EFE-42DC-9206-7151797C1B48}" dt="2021-01-06T21:17:00.581" v="1240" actId="164"/>
          <ac:grpSpMkLst>
            <pc:docMk/>
            <pc:sldMk cId="2048718066" sldId="746"/>
            <ac:grpSpMk id="3" creationId="{51728FCE-F259-4461-8125-563831559C69}"/>
          </ac:grpSpMkLst>
        </pc:grpChg>
        <pc:grpChg chg="add mod">
          <ac:chgData name="Perez Diaz, Karen" userId="17027623-4de6-4c48-9453-394c2c5804f8" providerId="ADAL" clId="{0DCB131B-3EFE-42DC-9206-7151797C1B48}" dt="2021-01-06T21:17:32.430" v="1243" actId="164"/>
          <ac:grpSpMkLst>
            <pc:docMk/>
            <pc:sldMk cId="2048718066" sldId="746"/>
            <ac:grpSpMk id="15" creationId="{EE66E9E0-1DA7-42C4-BE8A-26241CE2D495}"/>
          </ac:grpSpMkLst>
        </pc:grpChg>
        <pc:grpChg chg="add del mod topLvl">
          <ac:chgData name="Perez Diaz, Karen" userId="17027623-4de6-4c48-9453-394c2c5804f8" providerId="ADAL" clId="{0DCB131B-3EFE-42DC-9206-7151797C1B48}" dt="2021-01-06T21:23:38.518" v="1968" actId="478"/>
          <ac:grpSpMkLst>
            <pc:docMk/>
            <pc:sldMk cId="2048718066" sldId="746"/>
            <ac:grpSpMk id="16" creationId="{BDC67EBA-D6EC-49CB-BF20-7C0EE4C807BF}"/>
          </ac:grpSpMkLst>
        </pc:grpChg>
        <pc:grpChg chg="add del mod">
          <ac:chgData name="Perez Diaz, Karen" userId="17027623-4de6-4c48-9453-394c2c5804f8" providerId="ADAL" clId="{0DCB131B-3EFE-42DC-9206-7151797C1B48}" dt="2021-01-06T21:23:34.545" v="1967" actId="165"/>
          <ac:grpSpMkLst>
            <pc:docMk/>
            <pc:sldMk cId="2048718066" sldId="746"/>
            <ac:grpSpMk id="17" creationId="{E94AF1C7-83C1-48D4-AB49-9AC2CD6D3580}"/>
          </ac:grpSpMkLst>
        </pc:grpChg>
        <pc:grpChg chg="mod">
          <ac:chgData name="Perez Diaz, Karen" userId="17027623-4de6-4c48-9453-394c2c5804f8" providerId="ADAL" clId="{0DCB131B-3EFE-42DC-9206-7151797C1B48}" dt="2021-01-06T21:21:57.102" v="1942" actId="571"/>
          <ac:grpSpMkLst>
            <pc:docMk/>
            <pc:sldMk cId="2048718066" sldId="746"/>
            <ac:grpSpMk id="28" creationId="{28CDEEFF-6901-489B-A613-600C6B9418BC}"/>
          </ac:grpSpMkLst>
        </pc:grpChg>
        <pc:grpChg chg="mod">
          <ac:chgData name="Perez Diaz, Karen" userId="17027623-4de6-4c48-9453-394c2c5804f8" providerId="ADAL" clId="{0DCB131B-3EFE-42DC-9206-7151797C1B48}" dt="2021-01-06T21:21:57.102" v="1942" actId="571"/>
          <ac:grpSpMkLst>
            <pc:docMk/>
            <pc:sldMk cId="2048718066" sldId="746"/>
            <ac:grpSpMk id="29" creationId="{5E07E4C3-ED30-4A2B-B1DD-79C6CB2E3EEF}"/>
          </ac:grpSpMkLst>
        </pc:grpChg>
        <pc:grpChg chg="mod">
          <ac:chgData name="Perez Diaz, Karen" userId="17027623-4de6-4c48-9453-394c2c5804f8" providerId="ADAL" clId="{0DCB131B-3EFE-42DC-9206-7151797C1B48}" dt="2021-01-06T21:17:23.759" v="1242" actId="164"/>
          <ac:grpSpMkLst>
            <pc:docMk/>
            <pc:sldMk cId="2048718066" sldId="746"/>
            <ac:grpSpMk id="102" creationId="{DD622DB8-D90E-4F14-BE73-0A6AFF5BBC35}"/>
          </ac:grpSpMkLst>
        </pc:grpChg>
        <pc:grpChg chg="mod">
          <ac:chgData name="Perez Diaz, Karen" userId="17027623-4de6-4c48-9453-394c2c5804f8" providerId="ADAL" clId="{0DCB131B-3EFE-42DC-9206-7151797C1B48}" dt="2021-01-06T21:17:32.430" v="1243" actId="164"/>
          <ac:grpSpMkLst>
            <pc:docMk/>
            <pc:sldMk cId="2048718066" sldId="746"/>
            <ac:grpSpMk id="105" creationId="{2965B370-0DED-44F4-BCC7-DC8E04585A08}"/>
          </ac:grpSpMkLst>
        </pc:grpChg>
        <pc:cxnChg chg="del mod">
          <ac:chgData name="Perez Diaz, Karen" userId="17027623-4de6-4c48-9453-394c2c5804f8" providerId="ADAL" clId="{0DCB131B-3EFE-42DC-9206-7151797C1B48}" dt="2021-01-06T21:30:48.004" v="2163" actId="478"/>
          <ac:cxnSpMkLst>
            <pc:docMk/>
            <pc:sldMk cId="2048718066" sldId="746"/>
            <ac:cxnSpMk id="88" creationId="{20BFF8FF-A9AC-42B3-9E16-51EEF5013E4F}"/>
          </ac:cxnSpMkLst>
        </pc:cxnChg>
        <pc:cxnChg chg="del mod">
          <ac:chgData name="Perez Diaz, Karen" userId="17027623-4de6-4c48-9453-394c2c5804f8" providerId="ADAL" clId="{0DCB131B-3EFE-42DC-9206-7151797C1B48}" dt="2021-01-06T21:30:48.004" v="2163" actId="478"/>
          <ac:cxnSpMkLst>
            <pc:docMk/>
            <pc:sldMk cId="2048718066" sldId="746"/>
            <ac:cxnSpMk id="89" creationId="{F6D0CAB7-E7FA-45CA-BA27-E6415FBC3475}"/>
          </ac:cxnSpMkLst>
        </pc:cxnChg>
        <pc:cxnChg chg="del mod">
          <ac:chgData name="Perez Diaz, Karen" userId="17027623-4de6-4c48-9453-394c2c5804f8" providerId="ADAL" clId="{0DCB131B-3EFE-42DC-9206-7151797C1B48}" dt="2021-01-06T21:30:48.004" v="2163" actId="478"/>
          <ac:cxnSpMkLst>
            <pc:docMk/>
            <pc:sldMk cId="2048718066" sldId="746"/>
            <ac:cxnSpMk id="90" creationId="{22F02368-4E4D-4EAB-AD3D-C2A7672DF70E}"/>
          </ac:cxnSpMkLst>
        </pc:cxnChg>
        <pc:cxnChg chg="del mod">
          <ac:chgData name="Perez Diaz, Karen" userId="17027623-4de6-4c48-9453-394c2c5804f8" providerId="ADAL" clId="{0DCB131B-3EFE-42DC-9206-7151797C1B48}" dt="2021-01-06T21:30:48.004" v="2163" actId="478"/>
          <ac:cxnSpMkLst>
            <pc:docMk/>
            <pc:sldMk cId="2048718066" sldId="746"/>
            <ac:cxnSpMk id="91" creationId="{2511CA12-2B29-4674-9F12-2D791F8D8A4F}"/>
          </ac:cxnSpMkLst>
        </pc:cxnChg>
        <pc:cxnChg chg="mod">
          <ac:chgData name="Perez Diaz, Karen" userId="17027623-4de6-4c48-9453-394c2c5804f8" providerId="ADAL" clId="{0DCB131B-3EFE-42DC-9206-7151797C1B48}" dt="2021-01-06T21:23:38.518" v="1968" actId="478"/>
          <ac:cxnSpMkLst>
            <pc:docMk/>
            <pc:sldMk cId="2048718066" sldId="746"/>
            <ac:cxnSpMk id="97" creationId="{58DDC82B-EB20-47E0-A6EB-37432190550A}"/>
          </ac:cxnSpMkLst>
        </pc:cxnChg>
        <pc:cxnChg chg="mod">
          <ac:chgData name="Perez Diaz, Karen" userId="17027623-4de6-4c48-9453-394c2c5804f8" providerId="ADAL" clId="{0DCB131B-3EFE-42DC-9206-7151797C1B48}" dt="2021-01-06T21:23:38.518" v="1968" actId="478"/>
          <ac:cxnSpMkLst>
            <pc:docMk/>
            <pc:sldMk cId="2048718066" sldId="746"/>
            <ac:cxnSpMk id="99" creationId="{4FA0C0ED-18E5-4A98-A616-A33DDBBCBF1B}"/>
          </ac:cxnSpMkLst>
        </pc:cxnChg>
        <pc:cxnChg chg="mod">
          <ac:chgData name="Perez Diaz, Karen" userId="17027623-4de6-4c48-9453-394c2c5804f8" providerId="ADAL" clId="{0DCB131B-3EFE-42DC-9206-7151797C1B48}" dt="2021-01-06T21:23:38.518" v="1968" actId="478"/>
          <ac:cxnSpMkLst>
            <pc:docMk/>
            <pc:sldMk cId="2048718066" sldId="746"/>
            <ac:cxnSpMk id="100" creationId="{F638B493-D75F-46C7-ACB7-3EA1A78A0875}"/>
          </ac:cxnSpMkLst>
        </pc:cxnChg>
        <pc:cxnChg chg="mod">
          <ac:chgData name="Perez Diaz, Karen" userId="17027623-4de6-4c48-9453-394c2c5804f8" providerId="ADAL" clId="{0DCB131B-3EFE-42DC-9206-7151797C1B48}" dt="2021-01-06T21:23:38.518" v="1968" actId="478"/>
          <ac:cxnSpMkLst>
            <pc:docMk/>
            <pc:sldMk cId="2048718066" sldId="746"/>
            <ac:cxnSpMk id="106" creationId="{4B691A17-3347-4844-8733-94791245654E}"/>
          </ac:cxnSpMkLst>
        </pc:cxnChg>
        <pc:cxnChg chg="add mod">
          <ac:chgData name="Perez Diaz, Karen" userId="17027623-4de6-4c48-9453-394c2c5804f8" providerId="ADAL" clId="{0DCB131B-3EFE-42DC-9206-7151797C1B48}" dt="2021-01-06T21:28:08.090" v="2112" actId="1037"/>
          <ac:cxnSpMkLst>
            <pc:docMk/>
            <pc:sldMk cId="2048718066" sldId="746"/>
            <ac:cxnSpMk id="132" creationId="{CC71F425-BA05-4B83-AA4D-B5F67922EE57}"/>
          </ac:cxnSpMkLst>
        </pc:cxnChg>
        <pc:cxnChg chg="add mod">
          <ac:chgData name="Perez Diaz, Karen" userId="17027623-4de6-4c48-9453-394c2c5804f8" providerId="ADAL" clId="{0DCB131B-3EFE-42DC-9206-7151797C1B48}" dt="2021-01-06T21:28:08.090" v="2112" actId="1037"/>
          <ac:cxnSpMkLst>
            <pc:docMk/>
            <pc:sldMk cId="2048718066" sldId="746"/>
            <ac:cxnSpMk id="134" creationId="{07E15089-AF26-4A6E-9615-0941DEF26F1C}"/>
          </ac:cxnSpMkLst>
        </pc:cxnChg>
        <pc:cxnChg chg="add mod">
          <ac:chgData name="Perez Diaz, Karen" userId="17027623-4de6-4c48-9453-394c2c5804f8" providerId="ADAL" clId="{0DCB131B-3EFE-42DC-9206-7151797C1B48}" dt="2021-01-06T21:29:18.695" v="2152" actId="1038"/>
          <ac:cxnSpMkLst>
            <pc:docMk/>
            <pc:sldMk cId="2048718066" sldId="746"/>
            <ac:cxnSpMk id="135" creationId="{2EEE144C-69C3-429E-AB01-EBDD8B1FFA9B}"/>
          </ac:cxnSpMkLst>
        </pc:cxnChg>
        <pc:cxnChg chg="add mod">
          <ac:chgData name="Perez Diaz, Karen" userId="17027623-4de6-4c48-9453-394c2c5804f8" providerId="ADAL" clId="{0DCB131B-3EFE-42DC-9206-7151797C1B48}" dt="2021-01-06T21:30:59.064" v="2166" actId="14100"/>
          <ac:cxnSpMkLst>
            <pc:docMk/>
            <pc:sldMk cId="2048718066" sldId="746"/>
            <ac:cxnSpMk id="148" creationId="{B0B475CE-819E-426B-AB1A-E037E9AE5C73}"/>
          </ac:cxnSpMkLst>
        </pc:cxnChg>
        <pc:cxnChg chg="add mod">
          <ac:chgData name="Perez Diaz, Karen" userId="17027623-4de6-4c48-9453-394c2c5804f8" providerId="ADAL" clId="{0DCB131B-3EFE-42DC-9206-7151797C1B48}" dt="2021-01-06T21:30:59.064" v="2166" actId="14100"/>
          <ac:cxnSpMkLst>
            <pc:docMk/>
            <pc:sldMk cId="2048718066" sldId="746"/>
            <ac:cxnSpMk id="149" creationId="{E9690DFE-1150-4C27-8775-F8344363AE9F}"/>
          </ac:cxnSpMkLst>
        </pc:cxnChg>
        <pc:cxnChg chg="add mod">
          <ac:chgData name="Perez Diaz, Karen" userId="17027623-4de6-4c48-9453-394c2c5804f8" providerId="ADAL" clId="{0DCB131B-3EFE-42DC-9206-7151797C1B48}" dt="2021-01-06T21:30:59.064" v="2166" actId="14100"/>
          <ac:cxnSpMkLst>
            <pc:docMk/>
            <pc:sldMk cId="2048718066" sldId="746"/>
            <ac:cxnSpMk id="150" creationId="{D9BBAC7A-AF9F-4222-B145-6770CC93AD49}"/>
          </ac:cxnSpMkLst>
        </pc:cxnChg>
        <pc:cxnChg chg="add mod">
          <ac:chgData name="Perez Diaz, Karen" userId="17027623-4de6-4c48-9453-394c2c5804f8" providerId="ADAL" clId="{0DCB131B-3EFE-42DC-9206-7151797C1B48}" dt="2021-01-06T21:30:59.064" v="2166" actId="14100"/>
          <ac:cxnSpMkLst>
            <pc:docMk/>
            <pc:sldMk cId="2048718066" sldId="746"/>
            <ac:cxnSpMk id="151" creationId="{8FBD3D58-CFFE-485A-B97C-ABA0D8E93C81}"/>
          </ac:cxnSpMkLst>
        </pc:cxnChg>
        <pc:cxnChg chg="add mod">
          <ac:chgData name="Perez Diaz, Karen" userId="17027623-4de6-4c48-9453-394c2c5804f8" providerId="ADAL" clId="{0DCB131B-3EFE-42DC-9206-7151797C1B48}" dt="2021-01-06T21:32:27.665" v="2190" actId="14100"/>
          <ac:cxnSpMkLst>
            <pc:docMk/>
            <pc:sldMk cId="2048718066" sldId="746"/>
            <ac:cxnSpMk id="152" creationId="{514BFF4E-22EB-4C36-B1DB-70558BF1F690}"/>
          </ac:cxnSpMkLst>
        </pc:cxnChg>
        <pc:cxnChg chg="add mod">
          <ac:chgData name="Perez Diaz, Karen" userId="17027623-4de6-4c48-9453-394c2c5804f8" providerId="ADAL" clId="{0DCB131B-3EFE-42DC-9206-7151797C1B48}" dt="2021-01-06T21:32:27.665" v="2190" actId="14100"/>
          <ac:cxnSpMkLst>
            <pc:docMk/>
            <pc:sldMk cId="2048718066" sldId="746"/>
            <ac:cxnSpMk id="153" creationId="{BE8D0180-3C9F-43DE-A735-6E9681C3D968}"/>
          </ac:cxnSpMkLst>
        </pc:cxnChg>
        <pc:cxnChg chg="mod">
          <ac:chgData name="Perez Diaz, Karen" userId="17027623-4de6-4c48-9453-394c2c5804f8" providerId="ADAL" clId="{0DCB131B-3EFE-42DC-9206-7151797C1B48}" dt="2021-01-06T21:32:33.446" v="2191" actId="14100"/>
          <ac:cxnSpMkLst>
            <pc:docMk/>
            <pc:sldMk cId="2048718066" sldId="746"/>
            <ac:cxnSpMk id="154" creationId="{B8C55DC1-E75A-49E4-8B2D-210BEFBDC56D}"/>
          </ac:cxnSpMkLst>
        </pc:cxnChg>
        <pc:cxnChg chg="add mod">
          <ac:chgData name="Perez Diaz, Karen" userId="17027623-4de6-4c48-9453-394c2c5804f8" providerId="ADAL" clId="{0DCB131B-3EFE-42DC-9206-7151797C1B48}" dt="2021-01-06T21:32:27.665" v="2190" actId="14100"/>
          <ac:cxnSpMkLst>
            <pc:docMk/>
            <pc:sldMk cId="2048718066" sldId="746"/>
            <ac:cxnSpMk id="155" creationId="{F8015480-B5E2-46CE-9A74-EA3DEC2E5210}"/>
          </ac:cxnSpMkLst>
        </pc:cxnChg>
        <pc:cxnChg chg="add mod">
          <ac:chgData name="Perez Diaz, Karen" userId="17027623-4de6-4c48-9453-394c2c5804f8" providerId="ADAL" clId="{0DCB131B-3EFE-42DC-9206-7151797C1B48}" dt="2021-01-06T21:32:27.665" v="2190" actId="14100"/>
          <ac:cxnSpMkLst>
            <pc:docMk/>
            <pc:sldMk cId="2048718066" sldId="746"/>
            <ac:cxnSpMk id="156" creationId="{EB8C3AAD-81D1-4DC9-AA5D-303F9E84CDBF}"/>
          </ac:cxnSpMkLst>
        </pc:cxnChg>
      </pc:sldChg>
      <pc:sldMasterChg chg="delSldLayout">
        <pc:chgData name="Perez Diaz, Karen" userId="17027623-4de6-4c48-9453-394c2c5804f8" providerId="ADAL" clId="{0DCB131B-3EFE-42DC-9206-7151797C1B48}" dt="2021-01-06T21:53:03.375" v="2347" actId="2696"/>
        <pc:sldMasterMkLst>
          <pc:docMk/>
          <pc:sldMasterMk cId="4106976396" sldId="2147483827"/>
        </pc:sldMasterMkLst>
        <pc:sldLayoutChg chg="del">
          <pc:chgData name="Perez Diaz, Karen" userId="17027623-4de6-4c48-9453-394c2c5804f8" providerId="ADAL" clId="{0DCB131B-3EFE-42DC-9206-7151797C1B48}" dt="2021-01-06T21:53:03.375" v="2347" actId="2696"/>
          <pc:sldLayoutMkLst>
            <pc:docMk/>
            <pc:sldMasterMk cId="4106976396" sldId="2147483827"/>
            <pc:sldLayoutMk cId="1651403011" sldId="2147483862"/>
          </pc:sldLayoutMkLst>
        </pc:sldLayoutChg>
      </pc:sldMasterChg>
    </pc:docChg>
  </pc:docChgLst>
  <pc:docChgLst>
    <pc:chgData name="Perez Diaz, Karen" userId="17027623-4de6-4c48-9453-394c2c5804f8" providerId="ADAL" clId="{2AE8430C-FC38-4135-9F33-74E0DE054B9C}"/>
    <pc:docChg chg="addSld modSld">
      <pc:chgData name="Perez Diaz, Karen" userId="17027623-4de6-4c48-9453-394c2c5804f8" providerId="ADAL" clId="{2AE8430C-FC38-4135-9F33-74E0DE054B9C}" dt="2021-03-25T15:07:34.270" v="93" actId="13926"/>
      <pc:docMkLst>
        <pc:docMk/>
      </pc:docMkLst>
      <pc:sldChg chg="modSp mod">
        <pc:chgData name="Perez Diaz, Karen" userId="17027623-4de6-4c48-9453-394c2c5804f8" providerId="ADAL" clId="{2AE8430C-FC38-4135-9F33-74E0DE054B9C}" dt="2021-03-23T13:49:22.834" v="1" actId="13926"/>
        <pc:sldMkLst>
          <pc:docMk/>
          <pc:sldMk cId="3887687176" sldId="260"/>
        </pc:sldMkLst>
        <pc:spChg chg="mod">
          <ac:chgData name="Perez Diaz, Karen" userId="17027623-4de6-4c48-9453-394c2c5804f8" providerId="ADAL" clId="{2AE8430C-FC38-4135-9F33-74E0DE054B9C}" dt="2021-03-23T13:49:22.834" v="1" actId="13926"/>
          <ac:spMkLst>
            <pc:docMk/>
            <pc:sldMk cId="3887687176" sldId="260"/>
            <ac:spMk id="10" creationId="{00000000-0000-0000-0000-000000000000}"/>
          </ac:spMkLst>
        </pc:spChg>
      </pc:sldChg>
      <pc:sldChg chg="modSp mod">
        <pc:chgData name="Perez Diaz, Karen" userId="17027623-4de6-4c48-9453-394c2c5804f8" providerId="ADAL" clId="{2AE8430C-FC38-4135-9F33-74E0DE054B9C}" dt="2021-03-25T15:07:34.270" v="93" actId="13926"/>
        <pc:sldMkLst>
          <pc:docMk/>
          <pc:sldMk cId="753726229" sldId="379"/>
        </pc:sldMkLst>
        <pc:spChg chg="mod">
          <ac:chgData name="Perez Diaz, Karen" userId="17027623-4de6-4c48-9453-394c2c5804f8" providerId="ADAL" clId="{2AE8430C-FC38-4135-9F33-74E0DE054B9C}" dt="2021-03-25T15:07:34.270" v="93" actId="13926"/>
          <ac:spMkLst>
            <pc:docMk/>
            <pc:sldMk cId="753726229" sldId="379"/>
            <ac:spMk id="30" creationId="{39C286EB-B4EB-407E-9E61-97D02F492D65}"/>
          </ac:spMkLst>
        </pc:spChg>
      </pc:sldChg>
      <pc:sldChg chg="addSp modSp add mod">
        <pc:chgData name="Perez Diaz, Karen" userId="17027623-4de6-4c48-9453-394c2c5804f8" providerId="ADAL" clId="{2AE8430C-FC38-4135-9F33-74E0DE054B9C}" dt="2021-03-24T15:53:15.466" v="88" actId="6549"/>
        <pc:sldMkLst>
          <pc:docMk/>
          <pc:sldMk cId="995053867" sldId="435"/>
        </pc:sldMkLst>
        <pc:spChg chg="add mod">
          <ac:chgData name="Perez Diaz, Karen" userId="17027623-4de6-4c48-9453-394c2c5804f8" providerId="ADAL" clId="{2AE8430C-FC38-4135-9F33-74E0DE054B9C}" dt="2021-03-24T15:53:15.466" v="88" actId="6549"/>
          <ac:spMkLst>
            <pc:docMk/>
            <pc:sldMk cId="995053867" sldId="435"/>
            <ac:spMk id="6" creationId="{1FFDE395-3806-49D0-973F-A879AB3E7945}"/>
          </ac:spMkLst>
        </pc:spChg>
      </pc:sldChg>
      <pc:sldChg chg="addSp modSp add">
        <pc:chgData name="Perez Diaz, Karen" userId="17027623-4de6-4c48-9453-394c2c5804f8" providerId="ADAL" clId="{2AE8430C-FC38-4135-9F33-74E0DE054B9C}" dt="2021-03-23T15:54:03.825" v="87"/>
        <pc:sldMkLst>
          <pc:docMk/>
          <pc:sldMk cId="1768675143" sldId="436"/>
        </pc:sldMkLst>
        <pc:spChg chg="add mod">
          <ac:chgData name="Perez Diaz, Karen" userId="17027623-4de6-4c48-9453-394c2c5804f8" providerId="ADAL" clId="{2AE8430C-FC38-4135-9F33-74E0DE054B9C}" dt="2021-03-23T15:54:03.825" v="87"/>
          <ac:spMkLst>
            <pc:docMk/>
            <pc:sldMk cId="1768675143" sldId="436"/>
            <ac:spMk id="4" creationId="{D0E2A4DC-25F9-40B8-B82F-5A3015B15260}"/>
          </ac:spMkLst>
        </pc:spChg>
      </pc:sldChg>
      <pc:sldChg chg="modSp mod">
        <pc:chgData name="Perez Diaz, Karen" userId="17027623-4de6-4c48-9453-394c2c5804f8" providerId="ADAL" clId="{2AE8430C-FC38-4135-9F33-74E0DE054B9C}" dt="2021-03-25T15:07:29.735" v="92" actId="13926"/>
        <pc:sldMkLst>
          <pc:docMk/>
          <pc:sldMk cId="1285900942" sldId="737"/>
        </pc:sldMkLst>
        <pc:spChg chg="mod">
          <ac:chgData name="Perez Diaz, Karen" userId="17027623-4de6-4c48-9453-394c2c5804f8" providerId="ADAL" clId="{2AE8430C-FC38-4135-9F33-74E0DE054B9C}" dt="2021-03-25T15:07:29.735" v="92" actId="13926"/>
          <ac:spMkLst>
            <pc:docMk/>
            <pc:sldMk cId="1285900942" sldId="737"/>
            <ac:spMk id="3" creationId="{00000000-0000-0000-0000-000000000000}"/>
          </ac:spMkLst>
        </pc:spChg>
        <pc:spChg chg="mod">
          <ac:chgData name="Perez Diaz, Karen" userId="17027623-4de6-4c48-9453-394c2c5804f8" providerId="ADAL" clId="{2AE8430C-FC38-4135-9F33-74E0DE054B9C}" dt="2021-03-23T15:45:16.707" v="5" actId="20577"/>
          <ac:spMkLst>
            <pc:docMk/>
            <pc:sldMk cId="1285900942" sldId="737"/>
            <ac:spMk id="10" creationId="{CB5D12FB-FF24-4F81-84A8-B6855780FA57}"/>
          </ac:spMkLst>
        </pc:spChg>
      </pc:sldChg>
      <pc:sldChg chg="modSp mod">
        <pc:chgData name="Perez Diaz, Karen" userId="17027623-4de6-4c48-9453-394c2c5804f8" providerId="ADAL" clId="{2AE8430C-FC38-4135-9F33-74E0DE054B9C}" dt="2021-03-25T15:07:26.057" v="91" actId="13926"/>
        <pc:sldMkLst>
          <pc:docMk/>
          <pc:sldMk cId="3216517808" sldId="738"/>
        </pc:sldMkLst>
        <pc:spChg chg="mod">
          <ac:chgData name="Perez Diaz, Karen" userId="17027623-4de6-4c48-9453-394c2c5804f8" providerId="ADAL" clId="{2AE8430C-FC38-4135-9F33-74E0DE054B9C}" dt="2021-03-25T15:07:17.916" v="89" actId="13926"/>
          <ac:spMkLst>
            <pc:docMk/>
            <pc:sldMk cId="3216517808" sldId="738"/>
            <ac:spMk id="3" creationId="{00000000-0000-0000-0000-000000000000}"/>
          </ac:spMkLst>
        </pc:spChg>
        <pc:spChg chg="mod">
          <ac:chgData name="Perez Diaz, Karen" userId="17027623-4de6-4c48-9453-394c2c5804f8" providerId="ADAL" clId="{2AE8430C-FC38-4135-9F33-74E0DE054B9C}" dt="2021-03-25T15:07:22.574" v="90" actId="13926"/>
          <ac:spMkLst>
            <pc:docMk/>
            <pc:sldMk cId="3216517808" sldId="738"/>
            <ac:spMk id="16" creationId="{CB5D12FB-FF24-4F81-84A8-B6855780FA57}"/>
          </ac:spMkLst>
        </pc:spChg>
        <pc:spChg chg="mod">
          <ac:chgData name="Perez Diaz, Karen" userId="17027623-4de6-4c48-9453-394c2c5804f8" providerId="ADAL" clId="{2AE8430C-FC38-4135-9F33-74E0DE054B9C}" dt="2021-03-25T15:07:26.057" v="91" actId="13926"/>
          <ac:spMkLst>
            <pc:docMk/>
            <pc:sldMk cId="3216517808" sldId="738"/>
            <ac:spMk id="23" creationId="{CB5D12FB-FF24-4F81-84A8-B6855780FA57}"/>
          </ac:spMkLst>
        </pc:spChg>
      </pc:sldChg>
    </pc:docChg>
  </pc:docChgLst>
  <pc:docChgLst>
    <pc:chgData name="Karen Perez Diaz" userId="17027623-4de6-4c48-9453-394c2c5804f8" providerId="ADAL" clId="{36663EC6-42C7-4AE9-90A1-8B4641F56D46}"/>
    <pc:docChg chg="modSld">
      <pc:chgData name="Karen Perez Diaz" userId="17027623-4de6-4c48-9453-394c2c5804f8" providerId="ADAL" clId="{36663EC6-42C7-4AE9-90A1-8B4641F56D46}" dt="2021-01-13T17:20:29.752" v="1" actId="20577"/>
      <pc:docMkLst>
        <pc:docMk/>
      </pc:docMkLst>
      <pc:sldChg chg="modSp">
        <pc:chgData name="Karen Perez Diaz" userId="17027623-4de6-4c48-9453-394c2c5804f8" providerId="ADAL" clId="{36663EC6-42C7-4AE9-90A1-8B4641F56D46}" dt="2021-01-13T17:20:29.752" v="1" actId="20577"/>
        <pc:sldMkLst>
          <pc:docMk/>
          <pc:sldMk cId="3197154609" sldId="736"/>
        </pc:sldMkLst>
        <pc:spChg chg="mod">
          <ac:chgData name="Karen Perez Diaz" userId="17027623-4de6-4c48-9453-394c2c5804f8" providerId="ADAL" clId="{36663EC6-42C7-4AE9-90A1-8B4641F56D46}" dt="2021-01-13T17:20:29.752" v="1" actId="20577"/>
          <ac:spMkLst>
            <pc:docMk/>
            <pc:sldMk cId="3197154609" sldId="736"/>
            <ac:spMk id="3" creationId="{AF0DA26D-3B67-40C8-9676-A9B16F9FFEA9}"/>
          </ac:spMkLst>
        </pc:spChg>
      </pc:sldChg>
    </pc:docChg>
  </pc:docChgLst>
  <pc:docChgLst>
    <pc:chgData name="Perez Diaz, Karen" userId="17027623-4de6-4c48-9453-394c2c5804f8" providerId="ADAL" clId="{B8A62987-6FB9-40F8-84CA-0805666621D4}"/>
    <pc:docChg chg="undo custSel modSld">
      <pc:chgData name="Perez Diaz, Karen" userId="17027623-4de6-4c48-9453-394c2c5804f8" providerId="ADAL" clId="{B8A62987-6FB9-40F8-84CA-0805666621D4}" dt="2021-08-05T15:40:13.324" v="154" actId="6549"/>
      <pc:docMkLst>
        <pc:docMk/>
      </pc:docMkLst>
      <pc:sldChg chg="modSp mod">
        <pc:chgData name="Perez Diaz, Karen" userId="17027623-4de6-4c48-9453-394c2c5804f8" providerId="ADAL" clId="{B8A62987-6FB9-40F8-84CA-0805666621D4}" dt="2021-08-05T15:23:52.764" v="19" actId="20577"/>
        <pc:sldMkLst>
          <pc:docMk/>
          <pc:sldMk cId="2585549440" sldId="752"/>
        </pc:sldMkLst>
        <pc:spChg chg="mod">
          <ac:chgData name="Perez Diaz, Karen" userId="17027623-4de6-4c48-9453-394c2c5804f8" providerId="ADAL" clId="{B8A62987-6FB9-40F8-84CA-0805666621D4}" dt="2021-08-05T15:23:52.764" v="19" actId="20577"/>
          <ac:spMkLst>
            <pc:docMk/>
            <pc:sldMk cId="2585549440" sldId="752"/>
            <ac:spMk id="3" creationId="{16D5365B-B602-44AC-9EC5-1FECB96A2A26}"/>
          </ac:spMkLst>
        </pc:spChg>
      </pc:sldChg>
      <pc:sldChg chg="modSp mod">
        <pc:chgData name="Perez Diaz, Karen" userId="17027623-4de6-4c48-9453-394c2c5804f8" providerId="ADAL" clId="{B8A62987-6FB9-40F8-84CA-0805666621D4}" dt="2021-08-05T15:40:13.324" v="154" actId="6549"/>
        <pc:sldMkLst>
          <pc:docMk/>
          <pc:sldMk cId="1681002253" sldId="257389"/>
        </pc:sldMkLst>
        <pc:spChg chg="mod">
          <ac:chgData name="Perez Diaz, Karen" userId="17027623-4de6-4c48-9453-394c2c5804f8" providerId="ADAL" clId="{B8A62987-6FB9-40F8-84CA-0805666621D4}" dt="2021-08-05T15:40:13.324" v="154" actId="6549"/>
          <ac:spMkLst>
            <pc:docMk/>
            <pc:sldMk cId="1681002253" sldId="257389"/>
            <ac:spMk id="6" creationId="{765C8A17-4138-4FFC-BF9C-9534159DAF65}"/>
          </ac:spMkLst>
        </pc:spChg>
      </pc:sldChg>
    </pc:docChg>
  </pc:docChgLst>
  <pc:docChgLst>
    <pc:chgData name="Perez Diaz, Karen" userId="17027623-4de6-4c48-9453-394c2c5804f8" providerId="ADAL" clId="{99F5BB0B-9CE1-4E79-B7BB-632898D6434C}"/>
    <pc:docChg chg="modSld">
      <pc:chgData name="Perez Diaz, Karen" userId="17027623-4de6-4c48-9453-394c2c5804f8" providerId="ADAL" clId="{99F5BB0B-9CE1-4E79-B7BB-632898D6434C}" dt="2021-07-15T15:41:54.319" v="54" actId="20577"/>
      <pc:docMkLst>
        <pc:docMk/>
      </pc:docMkLst>
      <pc:sldChg chg="modSp mod">
        <pc:chgData name="Perez Diaz, Karen" userId="17027623-4de6-4c48-9453-394c2c5804f8" providerId="ADAL" clId="{99F5BB0B-9CE1-4E79-B7BB-632898D6434C}" dt="2021-07-15T15:05:44.104" v="3" actId="20577"/>
        <pc:sldMkLst>
          <pc:docMk/>
          <pc:sldMk cId="3197154609" sldId="736"/>
        </pc:sldMkLst>
        <pc:spChg chg="mod">
          <ac:chgData name="Perez Diaz, Karen" userId="17027623-4de6-4c48-9453-394c2c5804f8" providerId="ADAL" clId="{99F5BB0B-9CE1-4E79-B7BB-632898D6434C}" dt="2021-07-15T15:05:44.104" v="3" actId="20577"/>
          <ac:spMkLst>
            <pc:docMk/>
            <pc:sldMk cId="3197154609" sldId="736"/>
            <ac:spMk id="3" creationId="{AF0DA26D-3B67-40C8-9676-A9B16F9FFEA9}"/>
          </ac:spMkLst>
        </pc:spChg>
      </pc:sldChg>
      <pc:sldChg chg="modSp mod">
        <pc:chgData name="Perez Diaz, Karen" userId="17027623-4de6-4c48-9453-394c2c5804f8" providerId="ADAL" clId="{99F5BB0B-9CE1-4E79-B7BB-632898D6434C}" dt="2021-07-15T15:41:54.319" v="54" actId="20577"/>
        <pc:sldMkLst>
          <pc:docMk/>
          <pc:sldMk cId="2585549440" sldId="752"/>
        </pc:sldMkLst>
        <pc:spChg chg="mod">
          <ac:chgData name="Perez Diaz, Karen" userId="17027623-4de6-4c48-9453-394c2c5804f8" providerId="ADAL" clId="{99F5BB0B-9CE1-4E79-B7BB-632898D6434C}" dt="2021-07-15T15:41:54.319" v="54" actId="20577"/>
          <ac:spMkLst>
            <pc:docMk/>
            <pc:sldMk cId="2585549440" sldId="752"/>
            <ac:spMk id="3" creationId="{16D5365B-B602-44AC-9EC5-1FECB96A2A26}"/>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F86FB2-A3C6-4A4F-AC14-2DE1FD0B1DB5}" type="doc">
      <dgm:prSet loTypeId="urn:microsoft.com/office/officeart/2005/8/layout/hProcess9" loCatId="process" qsTypeId="urn:microsoft.com/office/officeart/2005/8/quickstyle/simple1" qsCatId="simple" csTypeId="urn:microsoft.com/office/officeart/2005/8/colors/accent1_2" csCatId="accent1" phldr="1"/>
      <dgm:spPr/>
    </dgm:pt>
    <dgm:pt modelId="{1BE56869-7A28-4EAB-9676-3FE052745B81}">
      <dgm:prSet phldrT="[Text]"/>
      <dgm:spPr/>
      <dgm:t>
        <a:bodyPr/>
        <a:lstStyle/>
        <a:p>
          <a:pPr algn="l">
            <a:buClr>
              <a:srgbClr val="000000"/>
            </a:buClr>
            <a:buFont typeface="Wingdings" panose="05000000000000000000" pitchFamily="2" charset="2"/>
            <a:buChar char="ü"/>
          </a:pPr>
          <a:r>
            <a:rPr lang="en-US" b="0" dirty="0">
              <a:solidFill>
                <a:schemeClr val="bg2"/>
              </a:solidFill>
            </a:rPr>
            <a:t>Minimize</a:t>
          </a:r>
          <a:r>
            <a:rPr lang="en-US" b="0" dirty="0">
              <a:solidFill>
                <a:schemeClr val="bg1"/>
              </a:solidFill>
            </a:rPr>
            <a:t> </a:t>
          </a:r>
          <a:r>
            <a:rPr lang="en-US" b="1" dirty="0" err="1">
              <a:solidFill>
                <a:schemeClr val="bg1"/>
              </a:solidFill>
            </a:rPr>
            <a:t>statefulness</a:t>
          </a:r>
          <a:endParaRPr lang="en-US" b="1" dirty="0">
            <a:solidFill>
              <a:schemeClr val="bg1"/>
            </a:solidFill>
          </a:endParaRPr>
        </a:p>
        <a:p>
          <a:pPr algn="l">
            <a:buClr>
              <a:srgbClr val="000000"/>
            </a:buClr>
            <a:buFont typeface="Wingdings" panose="05000000000000000000" pitchFamily="2" charset="2"/>
            <a:buChar char="ü"/>
          </a:pPr>
          <a:r>
            <a:rPr lang="en-US" b="0" dirty="0">
              <a:solidFill>
                <a:schemeClr val="bg2"/>
              </a:solidFill>
            </a:rPr>
            <a:t>Reduce</a:t>
          </a:r>
          <a:r>
            <a:rPr lang="en-US" b="0" dirty="0">
              <a:solidFill>
                <a:schemeClr val="bg1"/>
              </a:solidFill>
            </a:rPr>
            <a:t> </a:t>
          </a:r>
          <a:r>
            <a:rPr lang="en-US" b="1" dirty="0">
              <a:solidFill>
                <a:schemeClr val="bg1"/>
              </a:solidFill>
            </a:rPr>
            <a:t>dependencies</a:t>
          </a:r>
        </a:p>
        <a:p>
          <a:pPr algn="l">
            <a:buClr>
              <a:srgbClr val="000000"/>
            </a:buClr>
            <a:buFont typeface="Wingdings" panose="05000000000000000000" pitchFamily="2" charset="2"/>
            <a:buChar char="ü"/>
          </a:pPr>
          <a:r>
            <a:rPr lang="en-US" b="0" dirty="0">
              <a:solidFill>
                <a:schemeClr val="bg2"/>
              </a:solidFill>
            </a:rPr>
            <a:t>Have well-defined </a:t>
          </a:r>
          <a:r>
            <a:rPr lang="en-US" b="1" dirty="0">
              <a:solidFill>
                <a:schemeClr val="bg1"/>
              </a:solidFill>
            </a:rPr>
            <a:t>interfaces</a:t>
          </a:r>
        </a:p>
        <a:p>
          <a:pPr algn="l">
            <a:buClr>
              <a:srgbClr val="000000"/>
            </a:buClr>
            <a:buFont typeface="Wingdings" panose="05000000000000000000" pitchFamily="2" charset="2"/>
            <a:buChar char="ü"/>
          </a:pPr>
          <a:r>
            <a:rPr lang="en-US" b="0" dirty="0">
              <a:solidFill>
                <a:schemeClr val="bg2"/>
              </a:solidFill>
            </a:rPr>
            <a:t>Are</a:t>
          </a:r>
          <a:r>
            <a:rPr lang="en-US" b="0" dirty="0">
              <a:solidFill>
                <a:schemeClr val="bg1"/>
              </a:solidFill>
            </a:rPr>
            <a:t> </a:t>
          </a:r>
          <a:r>
            <a:rPr lang="en-US" b="1" dirty="0">
              <a:solidFill>
                <a:schemeClr val="bg1"/>
              </a:solidFill>
            </a:rPr>
            <a:t>lightweight</a:t>
          </a:r>
        </a:p>
        <a:p>
          <a:pPr algn="l">
            <a:buClr>
              <a:srgbClr val="000000"/>
            </a:buClr>
            <a:buFont typeface="Wingdings" panose="05000000000000000000" pitchFamily="2" charset="2"/>
            <a:buChar char="ü"/>
          </a:pPr>
          <a:r>
            <a:rPr lang="en-US" b="0" dirty="0">
              <a:solidFill>
                <a:schemeClr val="bg2"/>
              </a:solidFill>
            </a:rPr>
            <a:t>Are</a:t>
          </a:r>
          <a:r>
            <a:rPr lang="en-US" b="0" dirty="0">
              <a:solidFill>
                <a:schemeClr val="bg1"/>
              </a:solidFill>
            </a:rPr>
            <a:t> </a:t>
          </a:r>
          <a:r>
            <a:rPr lang="en-US" b="1" dirty="0">
              <a:solidFill>
                <a:schemeClr val="bg1"/>
              </a:solidFill>
            </a:rPr>
            <a:t>disposable</a:t>
          </a:r>
        </a:p>
      </dgm:t>
    </dgm:pt>
    <dgm:pt modelId="{98CC7DDA-3E97-4D6C-90EB-BBD2DAFD7E60}" type="parTrans" cxnId="{348C5F6E-9A21-4BFC-B847-05892F7771D7}">
      <dgm:prSet/>
      <dgm:spPr/>
      <dgm:t>
        <a:bodyPr/>
        <a:lstStyle/>
        <a:p>
          <a:endParaRPr lang="en-US"/>
        </a:p>
      </dgm:t>
    </dgm:pt>
    <dgm:pt modelId="{5788765C-C0FC-4362-9444-3E946FF34AD9}" type="sibTrans" cxnId="{348C5F6E-9A21-4BFC-B847-05892F7771D7}">
      <dgm:prSet/>
      <dgm:spPr/>
      <dgm:t>
        <a:bodyPr/>
        <a:lstStyle/>
        <a:p>
          <a:endParaRPr lang="en-US"/>
        </a:p>
      </dgm:t>
    </dgm:pt>
    <dgm:pt modelId="{9441A28B-5074-447F-B929-D3D0C3FA52E6}">
      <dgm:prSet phldrT="[Text]"/>
      <dgm:spPr/>
      <dgm:t>
        <a:bodyPr/>
        <a:lstStyle/>
        <a:p>
          <a:pPr algn="l">
            <a:buClr>
              <a:srgbClr val="000000"/>
            </a:buClr>
            <a:buFont typeface="Wingdings" panose="05000000000000000000" pitchFamily="2" charset="2"/>
            <a:buChar char="ü"/>
          </a:pPr>
          <a:r>
            <a:rPr lang="en-US" b="0" dirty="0">
              <a:solidFill>
                <a:schemeClr val="bg2"/>
              </a:solidFill>
            </a:rPr>
            <a:t>Apply a </a:t>
          </a:r>
          <a:r>
            <a:rPr lang="en-US" b="1" dirty="0">
              <a:solidFill>
                <a:schemeClr val="bg1"/>
              </a:solidFill>
            </a:rPr>
            <a:t>microservice</a:t>
          </a:r>
          <a:r>
            <a:rPr lang="en-US" b="0" dirty="0">
              <a:solidFill>
                <a:schemeClr val="bg1"/>
              </a:solidFill>
            </a:rPr>
            <a:t> </a:t>
          </a:r>
          <a:r>
            <a:rPr lang="en-US" b="0" dirty="0">
              <a:solidFill>
                <a:schemeClr val="bg2"/>
              </a:solidFill>
            </a:rPr>
            <a:t>approach</a:t>
          </a:r>
        </a:p>
        <a:p>
          <a:pPr algn="l">
            <a:buClr>
              <a:srgbClr val="000000"/>
            </a:buClr>
            <a:buFont typeface="Wingdings" panose="05000000000000000000" pitchFamily="2" charset="2"/>
            <a:buChar char="ü"/>
          </a:pPr>
          <a:r>
            <a:rPr lang="en-US" b="0" dirty="0">
              <a:solidFill>
                <a:schemeClr val="bg2"/>
              </a:solidFill>
            </a:rPr>
            <a:t>Write </a:t>
          </a:r>
          <a:r>
            <a:rPr lang="en-US" b="1" dirty="0">
              <a:solidFill>
                <a:schemeClr val="bg1"/>
              </a:solidFill>
            </a:rPr>
            <a:t>components</a:t>
          </a:r>
          <a:r>
            <a:rPr lang="en-US" b="0" dirty="0">
              <a:solidFill>
                <a:schemeClr val="bg1"/>
              </a:solidFill>
            </a:rPr>
            <a:t> </a:t>
          </a:r>
          <a:r>
            <a:rPr lang="en-US" b="0" dirty="0">
              <a:solidFill>
                <a:schemeClr val="bg2"/>
              </a:solidFill>
            </a:rPr>
            <a:t>that can </a:t>
          </a:r>
          <a:r>
            <a:rPr lang="en-US" b="1" dirty="0">
              <a:solidFill>
                <a:schemeClr val="bg1"/>
              </a:solidFill>
            </a:rPr>
            <a:t>scale horizontally</a:t>
          </a:r>
        </a:p>
        <a:p>
          <a:pPr algn="l">
            <a:buClr>
              <a:srgbClr val="000000"/>
            </a:buClr>
            <a:buFont typeface="Wingdings" panose="05000000000000000000" pitchFamily="2" charset="2"/>
            <a:buChar char="ü"/>
          </a:pPr>
          <a:r>
            <a:rPr lang="en-US" b="0" dirty="0">
              <a:solidFill>
                <a:schemeClr val="bg2"/>
              </a:solidFill>
            </a:rPr>
            <a:t>Take advantage of </a:t>
          </a:r>
          <a:r>
            <a:rPr lang="en-US" b="1" dirty="0">
              <a:solidFill>
                <a:schemeClr val="bg1"/>
              </a:solidFill>
            </a:rPr>
            <a:t>open source </a:t>
          </a:r>
          <a:r>
            <a:rPr lang="en-US" b="0" dirty="0">
              <a:solidFill>
                <a:schemeClr val="bg2"/>
              </a:solidFill>
            </a:rPr>
            <a:t>technologies to leverage </a:t>
          </a:r>
          <a:r>
            <a:rPr lang="en-US" b="1" dirty="0">
              <a:solidFill>
                <a:schemeClr val="bg1"/>
              </a:solidFill>
            </a:rPr>
            <a:t>community</a:t>
          </a:r>
          <a:r>
            <a:rPr lang="en-US" b="0" dirty="0">
              <a:solidFill>
                <a:schemeClr val="bg1"/>
              </a:solidFill>
            </a:rPr>
            <a:t> </a:t>
          </a:r>
          <a:r>
            <a:rPr lang="en-US" b="0" dirty="0">
              <a:solidFill>
                <a:schemeClr val="bg2"/>
              </a:solidFill>
            </a:rPr>
            <a:t>efforts</a:t>
          </a:r>
          <a:endParaRPr lang="en-US" dirty="0">
            <a:solidFill>
              <a:schemeClr val="bg2"/>
            </a:solidFill>
          </a:endParaRPr>
        </a:p>
      </dgm:t>
    </dgm:pt>
    <dgm:pt modelId="{B41357F5-F36D-4877-B7A9-9C644E666444}" type="parTrans" cxnId="{0A6FE9D6-3CAC-4E26-9AD5-9A8054D4CC6D}">
      <dgm:prSet/>
      <dgm:spPr/>
      <dgm:t>
        <a:bodyPr/>
        <a:lstStyle/>
        <a:p>
          <a:endParaRPr lang="en-US"/>
        </a:p>
      </dgm:t>
    </dgm:pt>
    <dgm:pt modelId="{98566238-9926-491A-B00A-F9039240190B}" type="sibTrans" cxnId="{0A6FE9D6-3CAC-4E26-9AD5-9A8054D4CC6D}">
      <dgm:prSet/>
      <dgm:spPr/>
      <dgm:t>
        <a:bodyPr/>
        <a:lstStyle/>
        <a:p>
          <a:endParaRPr lang="en-US"/>
        </a:p>
      </dgm:t>
    </dgm:pt>
    <dgm:pt modelId="{A0E49716-1C1E-4073-9C3B-02DD0E4BDDDF}" type="pres">
      <dgm:prSet presAssocID="{2AF86FB2-A3C6-4A4F-AC14-2DE1FD0B1DB5}" presName="CompostProcess" presStyleCnt="0">
        <dgm:presLayoutVars>
          <dgm:dir/>
          <dgm:resizeHandles val="exact"/>
        </dgm:presLayoutVars>
      </dgm:prSet>
      <dgm:spPr/>
    </dgm:pt>
    <dgm:pt modelId="{1F03D311-2824-4561-81AC-CA96D7ABDC7A}" type="pres">
      <dgm:prSet presAssocID="{2AF86FB2-A3C6-4A4F-AC14-2DE1FD0B1DB5}" presName="arrow" presStyleLbl="bgShp" presStyleIdx="0" presStyleCnt="1"/>
      <dgm:spPr/>
    </dgm:pt>
    <dgm:pt modelId="{F2F8841F-136F-4621-BBFF-7943082307D7}" type="pres">
      <dgm:prSet presAssocID="{2AF86FB2-A3C6-4A4F-AC14-2DE1FD0B1DB5}" presName="linearProcess" presStyleCnt="0"/>
      <dgm:spPr/>
    </dgm:pt>
    <dgm:pt modelId="{58F613B4-BEB4-400A-A52B-BADC30C55C54}" type="pres">
      <dgm:prSet presAssocID="{1BE56869-7A28-4EAB-9676-3FE052745B81}" presName="textNode" presStyleLbl="node1" presStyleIdx="0" presStyleCnt="2">
        <dgm:presLayoutVars>
          <dgm:bulletEnabled val="1"/>
        </dgm:presLayoutVars>
      </dgm:prSet>
      <dgm:spPr/>
    </dgm:pt>
    <dgm:pt modelId="{BB986222-8C32-4988-A31E-BCCA0E370CE5}" type="pres">
      <dgm:prSet presAssocID="{5788765C-C0FC-4362-9444-3E946FF34AD9}" presName="sibTrans" presStyleCnt="0"/>
      <dgm:spPr/>
    </dgm:pt>
    <dgm:pt modelId="{321CD6C7-472C-44B2-94ED-0123684F02D9}" type="pres">
      <dgm:prSet presAssocID="{9441A28B-5074-447F-B929-D3D0C3FA52E6}" presName="textNode" presStyleLbl="node1" presStyleIdx="1" presStyleCnt="2" custLinFactNeighborX="-7375" custLinFactNeighborY="-1228">
        <dgm:presLayoutVars>
          <dgm:bulletEnabled val="1"/>
        </dgm:presLayoutVars>
      </dgm:prSet>
      <dgm:spPr/>
    </dgm:pt>
  </dgm:ptLst>
  <dgm:cxnLst>
    <dgm:cxn modelId="{56A7820F-E406-41FC-B8F1-229E87F52FD6}" type="presOf" srcId="{1BE56869-7A28-4EAB-9676-3FE052745B81}" destId="{58F613B4-BEB4-400A-A52B-BADC30C55C54}" srcOrd="0" destOrd="0" presId="urn:microsoft.com/office/officeart/2005/8/layout/hProcess9"/>
    <dgm:cxn modelId="{D0192523-5DB5-4E10-A616-C8076DC80B18}" type="presOf" srcId="{2AF86FB2-A3C6-4A4F-AC14-2DE1FD0B1DB5}" destId="{A0E49716-1C1E-4073-9C3B-02DD0E4BDDDF}" srcOrd="0" destOrd="0" presId="urn:microsoft.com/office/officeart/2005/8/layout/hProcess9"/>
    <dgm:cxn modelId="{348C5F6E-9A21-4BFC-B847-05892F7771D7}" srcId="{2AF86FB2-A3C6-4A4F-AC14-2DE1FD0B1DB5}" destId="{1BE56869-7A28-4EAB-9676-3FE052745B81}" srcOrd="0" destOrd="0" parTransId="{98CC7DDA-3E97-4D6C-90EB-BBD2DAFD7E60}" sibTransId="{5788765C-C0FC-4362-9444-3E946FF34AD9}"/>
    <dgm:cxn modelId="{97322CC7-7B92-46FA-875B-9D66A1525467}" type="presOf" srcId="{9441A28B-5074-447F-B929-D3D0C3FA52E6}" destId="{321CD6C7-472C-44B2-94ED-0123684F02D9}" srcOrd="0" destOrd="0" presId="urn:microsoft.com/office/officeart/2005/8/layout/hProcess9"/>
    <dgm:cxn modelId="{0A6FE9D6-3CAC-4E26-9AD5-9A8054D4CC6D}" srcId="{2AF86FB2-A3C6-4A4F-AC14-2DE1FD0B1DB5}" destId="{9441A28B-5074-447F-B929-D3D0C3FA52E6}" srcOrd="1" destOrd="0" parTransId="{B41357F5-F36D-4877-B7A9-9C644E666444}" sibTransId="{98566238-9926-491A-B00A-F9039240190B}"/>
    <dgm:cxn modelId="{6CD85351-7541-4D52-8C4D-F37355E300E3}" type="presParOf" srcId="{A0E49716-1C1E-4073-9C3B-02DD0E4BDDDF}" destId="{1F03D311-2824-4561-81AC-CA96D7ABDC7A}" srcOrd="0" destOrd="0" presId="urn:microsoft.com/office/officeart/2005/8/layout/hProcess9"/>
    <dgm:cxn modelId="{29788103-1136-46DB-86EB-88B03EDA0B7D}" type="presParOf" srcId="{A0E49716-1C1E-4073-9C3B-02DD0E4BDDDF}" destId="{F2F8841F-136F-4621-BBFF-7943082307D7}" srcOrd="1" destOrd="0" presId="urn:microsoft.com/office/officeart/2005/8/layout/hProcess9"/>
    <dgm:cxn modelId="{78D1D31E-12F4-4421-B399-BBCF92676409}" type="presParOf" srcId="{F2F8841F-136F-4621-BBFF-7943082307D7}" destId="{58F613B4-BEB4-400A-A52B-BADC30C55C54}" srcOrd="0" destOrd="0" presId="urn:microsoft.com/office/officeart/2005/8/layout/hProcess9"/>
    <dgm:cxn modelId="{7AB43702-F0EB-4CDA-BE97-FF6225974979}" type="presParOf" srcId="{F2F8841F-136F-4621-BBFF-7943082307D7}" destId="{BB986222-8C32-4988-A31E-BCCA0E370CE5}" srcOrd="1" destOrd="0" presId="urn:microsoft.com/office/officeart/2005/8/layout/hProcess9"/>
    <dgm:cxn modelId="{CADFAB10-97F3-4E6A-8A9E-E3AAAD2237E3}" type="presParOf" srcId="{F2F8841F-136F-4621-BBFF-7943082307D7}" destId="{321CD6C7-472C-44B2-94ED-0123684F02D9}" srcOrd="2"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03D311-2824-4561-81AC-CA96D7ABDC7A}">
      <dsp:nvSpPr>
        <dsp:cNvPr id="0" name=""/>
        <dsp:cNvSpPr/>
      </dsp:nvSpPr>
      <dsp:spPr>
        <a:xfrm>
          <a:off x="786118" y="0"/>
          <a:ext cx="8909338" cy="5757735"/>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8F613B4-BEB4-400A-A52B-BADC30C55C54}">
      <dsp:nvSpPr>
        <dsp:cNvPr id="0" name=""/>
        <dsp:cNvSpPr/>
      </dsp:nvSpPr>
      <dsp:spPr>
        <a:xfrm>
          <a:off x="1517090" y="1727320"/>
          <a:ext cx="3595876" cy="230309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Clr>
              <a:srgbClr val="000000"/>
            </a:buClr>
            <a:buFont typeface="Wingdings" panose="05000000000000000000" pitchFamily="2" charset="2"/>
            <a:buNone/>
          </a:pPr>
          <a:r>
            <a:rPr lang="en-US" sz="2000" b="0" kern="1200" dirty="0">
              <a:solidFill>
                <a:schemeClr val="bg2"/>
              </a:solidFill>
            </a:rPr>
            <a:t>Minimize</a:t>
          </a:r>
          <a:r>
            <a:rPr lang="en-US" sz="2000" b="0" kern="1200" dirty="0">
              <a:solidFill>
                <a:schemeClr val="bg1"/>
              </a:solidFill>
            </a:rPr>
            <a:t> </a:t>
          </a:r>
          <a:r>
            <a:rPr lang="en-US" sz="2000" b="1" kern="1200" dirty="0" err="1">
              <a:solidFill>
                <a:schemeClr val="bg1"/>
              </a:solidFill>
            </a:rPr>
            <a:t>statefulness</a:t>
          </a:r>
          <a:endParaRPr lang="en-US" sz="2000" b="1" kern="1200" dirty="0">
            <a:solidFill>
              <a:schemeClr val="bg1"/>
            </a:solidFill>
          </a:endParaRPr>
        </a:p>
        <a:p>
          <a:pPr marL="0" lvl="0" indent="0" algn="l" defTabSz="889000">
            <a:lnSpc>
              <a:spcPct val="90000"/>
            </a:lnSpc>
            <a:spcBef>
              <a:spcPct val="0"/>
            </a:spcBef>
            <a:spcAft>
              <a:spcPct val="35000"/>
            </a:spcAft>
            <a:buClr>
              <a:srgbClr val="000000"/>
            </a:buClr>
            <a:buFont typeface="Wingdings" panose="05000000000000000000" pitchFamily="2" charset="2"/>
            <a:buNone/>
          </a:pPr>
          <a:r>
            <a:rPr lang="en-US" sz="2000" b="0" kern="1200" dirty="0">
              <a:solidFill>
                <a:schemeClr val="bg2"/>
              </a:solidFill>
            </a:rPr>
            <a:t>Reduce</a:t>
          </a:r>
          <a:r>
            <a:rPr lang="en-US" sz="2000" b="0" kern="1200" dirty="0">
              <a:solidFill>
                <a:schemeClr val="bg1"/>
              </a:solidFill>
            </a:rPr>
            <a:t> </a:t>
          </a:r>
          <a:r>
            <a:rPr lang="en-US" sz="2000" b="1" kern="1200" dirty="0">
              <a:solidFill>
                <a:schemeClr val="bg1"/>
              </a:solidFill>
            </a:rPr>
            <a:t>dependencies</a:t>
          </a:r>
        </a:p>
        <a:p>
          <a:pPr marL="0" lvl="0" indent="0" algn="l" defTabSz="889000">
            <a:lnSpc>
              <a:spcPct val="90000"/>
            </a:lnSpc>
            <a:spcBef>
              <a:spcPct val="0"/>
            </a:spcBef>
            <a:spcAft>
              <a:spcPct val="35000"/>
            </a:spcAft>
            <a:buClr>
              <a:srgbClr val="000000"/>
            </a:buClr>
            <a:buFont typeface="Wingdings" panose="05000000000000000000" pitchFamily="2" charset="2"/>
            <a:buNone/>
          </a:pPr>
          <a:r>
            <a:rPr lang="en-US" sz="2000" b="0" kern="1200" dirty="0">
              <a:solidFill>
                <a:schemeClr val="bg2"/>
              </a:solidFill>
            </a:rPr>
            <a:t>Have well-defined </a:t>
          </a:r>
          <a:r>
            <a:rPr lang="en-US" sz="2000" b="1" kern="1200" dirty="0">
              <a:solidFill>
                <a:schemeClr val="bg1"/>
              </a:solidFill>
            </a:rPr>
            <a:t>interfaces</a:t>
          </a:r>
        </a:p>
        <a:p>
          <a:pPr marL="0" lvl="0" indent="0" algn="l" defTabSz="889000">
            <a:lnSpc>
              <a:spcPct val="90000"/>
            </a:lnSpc>
            <a:spcBef>
              <a:spcPct val="0"/>
            </a:spcBef>
            <a:spcAft>
              <a:spcPct val="35000"/>
            </a:spcAft>
            <a:buClr>
              <a:srgbClr val="000000"/>
            </a:buClr>
            <a:buFont typeface="Wingdings" panose="05000000000000000000" pitchFamily="2" charset="2"/>
            <a:buNone/>
          </a:pPr>
          <a:r>
            <a:rPr lang="en-US" sz="2000" b="0" kern="1200" dirty="0">
              <a:solidFill>
                <a:schemeClr val="bg2"/>
              </a:solidFill>
            </a:rPr>
            <a:t>Are</a:t>
          </a:r>
          <a:r>
            <a:rPr lang="en-US" sz="2000" b="0" kern="1200" dirty="0">
              <a:solidFill>
                <a:schemeClr val="bg1"/>
              </a:solidFill>
            </a:rPr>
            <a:t> </a:t>
          </a:r>
          <a:r>
            <a:rPr lang="en-US" sz="2000" b="1" kern="1200" dirty="0">
              <a:solidFill>
                <a:schemeClr val="bg1"/>
              </a:solidFill>
            </a:rPr>
            <a:t>lightweight</a:t>
          </a:r>
        </a:p>
        <a:p>
          <a:pPr marL="0" lvl="0" indent="0" algn="l" defTabSz="889000">
            <a:lnSpc>
              <a:spcPct val="90000"/>
            </a:lnSpc>
            <a:spcBef>
              <a:spcPct val="0"/>
            </a:spcBef>
            <a:spcAft>
              <a:spcPct val="35000"/>
            </a:spcAft>
            <a:buClr>
              <a:srgbClr val="000000"/>
            </a:buClr>
            <a:buFont typeface="Wingdings" panose="05000000000000000000" pitchFamily="2" charset="2"/>
            <a:buNone/>
          </a:pPr>
          <a:r>
            <a:rPr lang="en-US" sz="2000" b="0" kern="1200" dirty="0">
              <a:solidFill>
                <a:schemeClr val="bg2"/>
              </a:solidFill>
            </a:rPr>
            <a:t>Are</a:t>
          </a:r>
          <a:r>
            <a:rPr lang="en-US" sz="2000" b="0" kern="1200" dirty="0">
              <a:solidFill>
                <a:schemeClr val="bg1"/>
              </a:solidFill>
            </a:rPr>
            <a:t> </a:t>
          </a:r>
          <a:r>
            <a:rPr lang="en-US" sz="2000" b="1" kern="1200" dirty="0">
              <a:solidFill>
                <a:schemeClr val="bg1"/>
              </a:solidFill>
            </a:rPr>
            <a:t>disposable</a:t>
          </a:r>
        </a:p>
      </dsp:txBody>
      <dsp:txXfrm>
        <a:off x="1629518" y="1839748"/>
        <a:ext cx="3371020" cy="2078238"/>
      </dsp:txXfrm>
    </dsp:sp>
    <dsp:sp modelId="{321CD6C7-472C-44B2-94ED-0123684F02D9}">
      <dsp:nvSpPr>
        <dsp:cNvPr id="0" name=""/>
        <dsp:cNvSpPr/>
      </dsp:nvSpPr>
      <dsp:spPr>
        <a:xfrm>
          <a:off x="5349754" y="1699038"/>
          <a:ext cx="3595876" cy="230309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Clr>
              <a:srgbClr val="000000"/>
            </a:buClr>
            <a:buFont typeface="Wingdings" panose="05000000000000000000" pitchFamily="2" charset="2"/>
            <a:buNone/>
          </a:pPr>
          <a:r>
            <a:rPr lang="en-US" sz="2000" b="0" kern="1200" dirty="0">
              <a:solidFill>
                <a:schemeClr val="bg2"/>
              </a:solidFill>
            </a:rPr>
            <a:t>Apply a </a:t>
          </a:r>
          <a:r>
            <a:rPr lang="en-US" sz="2000" b="1" kern="1200" dirty="0">
              <a:solidFill>
                <a:schemeClr val="bg1"/>
              </a:solidFill>
            </a:rPr>
            <a:t>microservice</a:t>
          </a:r>
          <a:r>
            <a:rPr lang="en-US" sz="2000" b="0" kern="1200" dirty="0">
              <a:solidFill>
                <a:schemeClr val="bg1"/>
              </a:solidFill>
            </a:rPr>
            <a:t> </a:t>
          </a:r>
          <a:r>
            <a:rPr lang="en-US" sz="2000" b="0" kern="1200" dirty="0">
              <a:solidFill>
                <a:schemeClr val="bg2"/>
              </a:solidFill>
            </a:rPr>
            <a:t>approach</a:t>
          </a:r>
        </a:p>
        <a:p>
          <a:pPr marL="0" lvl="0" indent="0" algn="l" defTabSz="889000">
            <a:lnSpc>
              <a:spcPct val="90000"/>
            </a:lnSpc>
            <a:spcBef>
              <a:spcPct val="0"/>
            </a:spcBef>
            <a:spcAft>
              <a:spcPct val="35000"/>
            </a:spcAft>
            <a:buClr>
              <a:srgbClr val="000000"/>
            </a:buClr>
            <a:buFont typeface="Wingdings" panose="05000000000000000000" pitchFamily="2" charset="2"/>
            <a:buNone/>
          </a:pPr>
          <a:r>
            <a:rPr lang="en-US" sz="2000" b="0" kern="1200" dirty="0">
              <a:solidFill>
                <a:schemeClr val="bg2"/>
              </a:solidFill>
            </a:rPr>
            <a:t>Write </a:t>
          </a:r>
          <a:r>
            <a:rPr lang="en-US" sz="2000" b="1" kern="1200" dirty="0">
              <a:solidFill>
                <a:schemeClr val="bg1"/>
              </a:solidFill>
            </a:rPr>
            <a:t>components</a:t>
          </a:r>
          <a:r>
            <a:rPr lang="en-US" sz="2000" b="0" kern="1200" dirty="0">
              <a:solidFill>
                <a:schemeClr val="bg1"/>
              </a:solidFill>
            </a:rPr>
            <a:t> </a:t>
          </a:r>
          <a:r>
            <a:rPr lang="en-US" sz="2000" b="0" kern="1200" dirty="0">
              <a:solidFill>
                <a:schemeClr val="bg2"/>
              </a:solidFill>
            </a:rPr>
            <a:t>that can </a:t>
          </a:r>
          <a:r>
            <a:rPr lang="en-US" sz="2000" b="1" kern="1200" dirty="0">
              <a:solidFill>
                <a:schemeClr val="bg1"/>
              </a:solidFill>
            </a:rPr>
            <a:t>scale horizontally</a:t>
          </a:r>
        </a:p>
        <a:p>
          <a:pPr marL="0" lvl="0" indent="0" algn="l" defTabSz="889000">
            <a:lnSpc>
              <a:spcPct val="90000"/>
            </a:lnSpc>
            <a:spcBef>
              <a:spcPct val="0"/>
            </a:spcBef>
            <a:spcAft>
              <a:spcPct val="35000"/>
            </a:spcAft>
            <a:buClr>
              <a:srgbClr val="000000"/>
            </a:buClr>
            <a:buFont typeface="Wingdings" panose="05000000000000000000" pitchFamily="2" charset="2"/>
            <a:buNone/>
          </a:pPr>
          <a:r>
            <a:rPr lang="en-US" sz="2000" b="0" kern="1200" dirty="0">
              <a:solidFill>
                <a:schemeClr val="bg2"/>
              </a:solidFill>
            </a:rPr>
            <a:t>Take advantage of </a:t>
          </a:r>
          <a:r>
            <a:rPr lang="en-US" sz="2000" b="1" kern="1200" dirty="0">
              <a:solidFill>
                <a:schemeClr val="bg1"/>
              </a:solidFill>
            </a:rPr>
            <a:t>open source </a:t>
          </a:r>
          <a:r>
            <a:rPr lang="en-US" sz="2000" b="0" kern="1200" dirty="0">
              <a:solidFill>
                <a:schemeClr val="bg2"/>
              </a:solidFill>
            </a:rPr>
            <a:t>technologies to leverage </a:t>
          </a:r>
          <a:r>
            <a:rPr lang="en-US" sz="2000" b="1" kern="1200" dirty="0">
              <a:solidFill>
                <a:schemeClr val="bg1"/>
              </a:solidFill>
            </a:rPr>
            <a:t>community</a:t>
          </a:r>
          <a:r>
            <a:rPr lang="en-US" sz="2000" b="0" kern="1200" dirty="0">
              <a:solidFill>
                <a:schemeClr val="bg1"/>
              </a:solidFill>
            </a:rPr>
            <a:t> </a:t>
          </a:r>
          <a:r>
            <a:rPr lang="en-US" sz="2000" b="0" kern="1200" dirty="0">
              <a:solidFill>
                <a:schemeClr val="bg2"/>
              </a:solidFill>
            </a:rPr>
            <a:t>efforts</a:t>
          </a:r>
          <a:endParaRPr lang="en-US" sz="2000" kern="1200" dirty="0">
            <a:solidFill>
              <a:schemeClr val="bg2"/>
            </a:solidFill>
          </a:endParaRPr>
        </a:p>
      </dsp:txBody>
      <dsp:txXfrm>
        <a:off x="5462182" y="1811466"/>
        <a:ext cx="3371020" cy="207823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sz="1000">
              <a:latin typeface="Open Sans Light"/>
              <a:cs typeface="Open Sans Light"/>
            </a:endParaRP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Open Sans Light"/>
                <a:cs typeface="Open Sans Light"/>
              </a:rPr>
              <a:t>10/27/2021</a:t>
            </a:fld>
            <a:endParaRPr lang="en-US" sz="1000">
              <a:latin typeface="Open Sans Light"/>
              <a:cs typeface="Open Sans Light"/>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a:latin typeface="Open Sans Light"/>
              <a:cs typeface="Open Sans Light"/>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Open Sans Light"/>
                <a:cs typeface="Open Sans Light"/>
              </a:rPr>
              <a:t>‹#›</a:t>
            </a:fld>
            <a:endParaRPr lang="en-US" sz="100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EC2C7003-A6A9-A249-88AD-8CFDA7DED64B}" type="datetimeFigureOut">
              <a:rPr lang="en-US" smtClean="0"/>
              <a:pPr/>
              <a:t>10/27/2021</a:t>
            </a:fld>
            <a:endParaRPr lang="en-US"/>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a:p>
        </p:txBody>
      </p:sp>
      <p:sp>
        <p:nvSpPr>
          <p:cNvPr id="5" name="Header Placeholder 4">
            <a:extLst>
              <a:ext uri="{FF2B5EF4-FFF2-40B4-BE49-F238E27FC236}">
                <a16:creationId xmlns:a16="http://schemas.microsoft.com/office/drawing/2014/main" id="{36273BCD-FAAC-468B-B530-B08C5811BA70}"/>
              </a:ext>
            </a:extLst>
          </p:cNvPr>
          <p:cNvSpPr>
            <a:spLocks noGrp="1"/>
          </p:cNvSpPr>
          <p:nvPr>
            <p:ph type="hdr" sz="quarter"/>
          </p:nvPr>
        </p:nvSpPr>
        <p:spPr/>
        <p:txBody>
          <a:bodyPr/>
          <a:lstStyle/>
          <a:p>
            <a:r>
              <a:rPr lang="en-US"/>
              <a:t>Test</a:t>
            </a:r>
            <a:endParaRPr lang="en-US" dirty="0"/>
          </a:p>
        </p:txBody>
      </p:sp>
    </p:spTree>
    <p:extLst>
      <p:ext uri="{BB962C8B-B14F-4D97-AF65-F5344CB8AC3E}">
        <p14:creationId xmlns:p14="http://schemas.microsoft.com/office/powerpoint/2010/main" val="42042628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3</a:t>
            </a:fld>
            <a:endParaRPr lang="en-US"/>
          </a:p>
        </p:txBody>
      </p:sp>
    </p:spTree>
    <p:extLst>
      <p:ext uri="{BB962C8B-B14F-4D97-AF65-F5344CB8AC3E}">
        <p14:creationId xmlns:p14="http://schemas.microsoft.com/office/powerpoint/2010/main" val="28318365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p:nvGrpSpPr>
        <p:grpSpPr>
          <a:xfrm>
            <a:off x="557929" y="429542"/>
            <a:ext cx="2872536"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sp>
        <p:nvSpPr>
          <p:cNvPr id="22"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37995810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1365425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6257926"/>
            <a:ext cx="12192000"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accent2"/>
                </a:solidFill>
                <a:latin typeface="+mn-lt"/>
              </a:defRPr>
            </a:lvl1pPr>
          </a:lstStyle>
          <a:p>
            <a:r>
              <a:rPr lang="en-US"/>
              <a:t>Click to edit title for divider</a:t>
            </a:r>
          </a:p>
        </p:txBody>
      </p:sp>
    </p:spTree>
    <p:extLst>
      <p:ext uri="{BB962C8B-B14F-4D97-AF65-F5344CB8AC3E}">
        <p14:creationId xmlns:p14="http://schemas.microsoft.com/office/powerpoint/2010/main" val="2549650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278563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3944527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2278557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930"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1971"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6012"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8253038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10065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5348363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41922984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1"/>
            <a:ext cx="9051932"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6865204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3"/>
            <a:ext cx="7174286"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928" y="1767531"/>
            <a:ext cx="3439040"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873601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0839146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474" y="3718012"/>
            <a:ext cx="349391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80297" y="3718012"/>
            <a:ext cx="349391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spTree>
    <p:extLst>
      <p:ext uri="{BB962C8B-B14F-4D97-AF65-F5344CB8AC3E}">
        <p14:creationId xmlns:p14="http://schemas.microsoft.com/office/powerpoint/2010/main" val="39791427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p:nvSpPr>
        <p:spPr>
          <a:xfrm>
            <a:off x="218718"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p:nvSpPr>
        <p:spPr>
          <a:xfrm>
            <a:off x="4062895" y="0"/>
            <a:ext cx="40581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p:nvSpPr>
        <p:spPr>
          <a:xfrm>
            <a:off x="8121046" y="0"/>
            <a:ext cx="40709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991"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7514"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72065" y="3148862"/>
            <a:ext cx="2368913"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Tree>
    <p:extLst>
      <p:ext uri="{BB962C8B-B14F-4D97-AF65-F5344CB8AC3E}">
        <p14:creationId xmlns:p14="http://schemas.microsoft.com/office/powerpoint/2010/main" val="31824291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1269987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322507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3362363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929" y="1764792"/>
            <a:ext cx="4435995" cy="1463040"/>
          </a:xfrm>
        </p:spPr>
        <p:txBody>
          <a:bodyPr rIns="0"/>
          <a:lstStyle>
            <a:lvl1pPr>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929" y="3590383"/>
            <a:ext cx="4573191"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40017083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8" y="2180108"/>
            <a:ext cx="7170763"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27720267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2512868" y="2180108"/>
            <a:ext cx="7170763" cy="1463040"/>
          </a:xfrm>
        </p:spPr>
        <p:txBody>
          <a:bodyPr rIns="0"/>
          <a:lstStyle>
            <a:lvl1pPr>
              <a:defRPr>
                <a:solidFill>
                  <a:schemeClr val="bg1"/>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bg1"/>
                </a:solidFill>
              </a:defRPr>
            </a:lvl1pPr>
          </a:lstStyle>
          <a:p>
            <a:pPr lvl="0"/>
            <a:r>
              <a:rPr lang="en-US"/>
              <a:t>click to add AUTHOR</a:t>
            </a:r>
          </a:p>
        </p:txBody>
      </p:sp>
    </p:spTree>
    <p:extLst>
      <p:ext uri="{BB962C8B-B14F-4D97-AF65-F5344CB8AC3E}">
        <p14:creationId xmlns:p14="http://schemas.microsoft.com/office/powerpoint/2010/main" val="7035212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3034"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4668"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2999137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4939"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435312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p:nvSpPr>
        <p:spPr>
          <a:xfrm>
            <a:off x="557929" y="6427484"/>
            <a:ext cx="6859786"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p:nvGrpSpPr>
        <p:grpSpPr>
          <a:xfrm>
            <a:off x="557929" y="429542"/>
            <a:ext cx="2872536"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6728935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Tree>
    <p:extLst>
      <p:ext uri="{BB962C8B-B14F-4D97-AF65-F5344CB8AC3E}">
        <p14:creationId xmlns:p14="http://schemas.microsoft.com/office/powerpoint/2010/main" val="38734343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5766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139F72-CEC0-495F-8477-192D60A880E2}"/>
              </a:ext>
            </a:extLst>
          </p:cNvPr>
          <p:cNvSpPr/>
          <p:nvPr/>
        </p:nvSpPr>
        <p:spPr>
          <a:xfrm>
            <a:off x="-1"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sp>
        <p:nvSpPr>
          <p:cNvPr id="8" name="Title 1">
            <a:extLst>
              <a:ext uri="{FF2B5EF4-FFF2-40B4-BE49-F238E27FC236}">
                <a16:creationId xmlns:a16="http://schemas.microsoft.com/office/drawing/2014/main" id="{64081097-5A32-492D-A4B4-0E77BD503364}"/>
              </a:ext>
            </a:extLst>
          </p:cNvPr>
          <p:cNvSpPr txBox="1">
            <a:spLocks/>
          </p:cNvSpPr>
          <p:nvPr userDrawn="1"/>
        </p:nvSpPr>
        <p:spPr>
          <a:xfrm>
            <a:off x="575681" y="2875986"/>
            <a:ext cx="4882896" cy="713232"/>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sz="4000">
                <a:solidFill>
                  <a:schemeClr val="bg1"/>
                </a:solidFill>
              </a:rPr>
              <a:t>Turning Vision…</a:t>
            </a:r>
          </a:p>
        </p:txBody>
      </p:sp>
      <p:sp>
        <p:nvSpPr>
          <p:cNvPr id="9" name="Title 1">
            <a:extLst>
              <a:ext uri="{FF2B5EF4-FFF2-40B4-BE49-F238E27FC236}">
                <a16:creationId xmlns:a16="http://schemas.microsoft.com/office/drawing/2014/main" id="{68E82583-215F-49B9-8CD3-A028423EE570}"/>
              </a:ext>
            </a:extLst>
          </p:cNvPr>
          <p:cNvSpPr>
            <a:spLocks noGrp="1"/>
          </p:cNvSpPr>
          <p:nvPr>
            <p:ph type="title" idx="4294967295"/>
          </p:nvPr>
        </p:nvSpPr>
        <p:spPr>
          <a:xfrm>
            <a:off x="6733424" y="2875986"/>
            <a:ext cx="4882896" cy="713232"/>
          </a:xfrm>
        </p:spPr>
        <p:txBody>
          <a:bodyPr/>
          <a:lstStyle/>
          <a:p>
            <a:r>
              <a:rPr lang="en-US" sz="4000"/>
              <a:t>Click to edit Master title style</a:t>
            </a:r>
          </a:p>
        </p:txBody>
      </p:sp>
    </p:spTree>
    <p:extLst>
      <p:ext uri="{BB962C8B-B14F-4D97-AF65-F5344CB8AC3E}">
        <p14:creationId xmlns:p14="http://schemas.microsoft.com/office/powerpoint/2010/main" val="306607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309210"/>
            <a:ext cx="9667726"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929" y="679475"/>
            <a:ext cx="9687861" cy="422275"/>
          </a:xfrm>
        </p:spPr>
        <p:txBody>
          <a:bodyPr/>
          <a:lstStyle/>
          <a:p>
            <a:pPr lvl="0"/>
            <a:r>
              <a:rPr lang="en-US">
                <a:latin typeface="Arial" panose="020B0604020202020204" pitchFamily="34" charset="0"/>
                <a:cs typeface="Arial" panose="020B0604020202020204" pitchFamily="34" charset="0"/>
                <a:sym typeface="Arial" panose="020B0604020202020204" pitchFamily="34" charset="0"/>
              </a:rPr>
              <a:t>Click to edit Master text styles</a:t>
            </a:r>
          </a:p>
        </p:txBody>
      </p:sp>
    </p:spTree>
    <p:extLst>
      <p:ext uri="{BB962C8B-B14F-4D97-AF65-F5344CB8AC3E}">
        <p14:creationId xmlns:p14="http://schemas.microsoft.com/office/powerpoint/2010/main" val="18814742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8_Title Slide">
    <p:spTree>
      <p:nvGrpSpPr>
        <p:cNvPr id="1" name=""/>
        <p:cNvGrpSpPr/>
        <p:nvPr/>
      </p:nvGrpSpPr>
      <p:grpSpPr>
        <a:xfrm>
          <a:off x="0" y="0"/>
          <a:ext cx="0" cy="0"/>
          <a:chOff x="0" y="0"/>
          <a:chExt cx="0" cy="0"/>
        </a:xfrm>
      </p:grpSpPr>
      <p:sp>
        <p:nvSpPr>
          <p:cNvPr id="64514" name="Rectangle 2"/>
          <p:cNvSpPr>
            <a:spLocks noGrp="1" noChangeArrowheads="1"/>
          </p:cNvSpPr>
          <p:nvPr>
            <p:ph type="ctrTitle"/>
          </p:nvPr>
        </p:nvSpPr>
        <p:spPr>
          <a:xfrm>
            <a:off x="304800" y="1698626"/>
            <a:ext cx="11277600" cy="1958975"/>
          </a:xfrm>
        </p:spPr>
        <p:txBody>
          <a:bodyPr/>
          <a:lstStyle>
            <a:lvl1pPr>
              <a:lnSpc>
                <a:spcPct val="80000"/>
              </a:lnSpc>
              <a:defRPr sz="7000" b="0">
                <a:solidFill>
                  <a:schemeClr val="accent1"/>
                </a:solidFill>
              </a:defRPr>
            </a:lvl1pPr>
          </a:lstStyle>
          <a:p>
            <a:pPr lvl="0"/>
            <a:r>
              <a:rPr lang="en-US" noProof="0"/>
              <a:t>Click to edit Master title style</a:t>
            </a:r>
          </a:p>
        </p:txBody>
      </p:sp>
      <p:sp>
        <p:nvSpPr>
          <p:cNvPr id="64515" name="Rectangle 3"/>
          <p:cNvSpPr>
            <a:spLocks noGrp="1" noChangeArrowheads="1"/>
          </p:cNvSpPr>
          <p:nvPr>
            <p:ph type="subTitle" idx="1"/>
          </p:nvPr>
        </p:nvSpPr>
        <p:spPr>
          <a:xfrm>
            <a:off x="304800" y="3713164"/>
            <a:ext cx="11226800" cy="555625"/>
          </a:xfrm>
        </p:spPr>
        <p:txBody>
          <a:bodyPr/>
          <a:lstStyle>
            <a:lvl1pPr>
              <a:defRPr sz="2300">
                <a:solidFill>
                  <a:schemeClr val="bg1"/>
                </a:solidFill>
              </a:defRPr>
            </a:lvl1pPr>
          </a:lstStyle>
          <a:p>
            <a:pPr lvl="0"/>
            <a:r>
              <a:rPr lang="en-US" noProof="0"/>
              <a:t>Click to edit Master subtitle style</a:t>
            </a:r>
          </a:p>
        </p:txBody>
      </p:sp>
      <p:sp>
        <p:nvSpPr>
          <p:cNvPr id="3" name="Text Placeholder 2"/>
          <p:cNvSpPr>
            <a:spLocks noGrp="1"/>
          </p:cNvSpPr>
          <p:nvPr>
            <p:ph type="body" sz="quarter" idx="10" hasCustomPrompt="1"/>
          </p:nvPr>
        </p:nvSpPr>
        <p:spPr>
          <a:xfrm>
            <a:off x="304801" y="4324350"/>
            <a:ext cx="3441700" cy="514350"/>
          </a:xfrm>
        </p:spPr>
        <p:txBody>
          <a:bodyPr/>
          <a:lstStyle>
            <a:lvl1pPr>
              <a:defRPr sz="2000" b="0" i="0" baseline="0">
                <a:solidFill>
                  <a:schemeClr val="bg1"/>
                </a:solidFill>
                <a:latin typeface="Calibri" pitchFamily="34" charset="0"/>
              </a:defRPr>
            </a:lvl1pPr>
          </a:lstStyle>
          <a:p>
            <a:pPr lvl="0"/>
            <a:r>
              <a:rPr lang="en-US"/>
              <a:t>Month Day, Year</a:t>
            </a:r>
          </a:p>
        </p:txBody>
      </p:sp>
      <p:sp>
        <p:nvSpPr>
          <p:cNvPr id="8" name="Text Box 6"/>
          <p:cNvSpPr txBox="1">
            <a:spLocks noChangeArrowheads="1"/>
          </p:cNvSpPr>
          <p:nvPr userDrawn="1"/>
        </p:nvSpPr>
        <p:spPr bwMode="black">
          <a:xfrm>
            <a:off x="2080809" y="333376"/>
            <a:ext cx="3657600" cy="88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1300" b="1">
                <a:solidFill>
                  <a:schemeClr val="accent1"/>
                </a:solidFill>
                <a:latin typeface="Calibri" pitchFamily="34" charset="0"/>
              </a:rPr>
              <a:t>Quality health plans &amp; benefits</a:t>
            </a:r>
          </a:p>
          <a:p>
            <a:r>
              <a:rPr lang="en-US" sz="1300" b="1">
                <a:solidFill>
                  <a:schemeClr val="accent1"/>
                </a:solidFill>
                <a:latin typeface="Calibri" pitchFamily="34" charset="0"/>
              </a:rPr>
              <a:t>Healthier living</a:t>
            </a:r>
          </a:p>
          <a:p>
            <a:r>
              <a:rPr lang="en-US" sz="1300" b="1">
                <a:solidFill>
                  <a:schemeClr val="accent1"/>
                </a:solidFill>
                <a:latin typeface="Calibri" pitchFamily="34" charset="0"/>
              </a:rPr>
              <a:t>Financial well-being</a:t>
            </a:r>
          </a:p>
          <a:p>
            <a:r>
              <a:rPr lang="en-US" sz="1300" b="1">
                <a:solidFill>
                  <a:schemeClr val="accent1"/>
                </a:solidFill>
                <a:latin typeface="Calibri" pitchFamily="34" charset="0"/>
              </a:rPr>
              <a:t>Intelligent solutions</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24801" y="393700"/>
            <a:ext cx="3918673" cy="749746"/>
          </a:xfrm>
          <a:prstGeom prst="rect">
            <a:avLst/>
          </a:prstGeom>
        </p:spPr>
      </p:pic>
      <p:grpSp>
        <p:nvGrpSpPr>
          <p:cNvPr id="10" name="Group 129"/>
          <p:cNvGrpSpPr>
            <a:grpSpLocks/>
          </p:cNvGrpSpPr>
          <p:nvPr userDrawn="1"/>
        </p:nvGrpSpPr>
        <p:grpSpPr bwMode="auto">
          <a:xfrm>
            <a:off x="272973" y="131762"/>
            <a:ext cx="1722967" cy="1289050"/>
            <a:chOff x="577" y="2403"/>
            <a:chExt cx="814" cy="812"/>
          </a:xfrm>
        </p:grpSpPr>
        <p:pic>
          <p:nvPicPr>
            <p:cNvPr id="11" name="Picture 1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7" y="2403"/>
              <a:ext cx="814" cy="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WordArt 119"/>
            <p:cNvSpPr>
              <a:spLocks noChangeArrowheads="1" noChangeShapeType="1" noTextEdit="1"/>
            </p:cNvSpPr>
            <p:nvPr/>
          </p:nvSpPr>
          <p:spPr bwMode="auto">
            <a:xfrm>
              <a:off x="649" y="2476"/>
              <a:ext cx="670" cy="666"/>
            </a:xfrm>
            <a:prstGeom prst="rect">
              <a:avLst/>
            </a:prstGeom>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14:hiddenEffects>
              </a:ext>
            </a:extLst>
          </p:spPr>
          <p:txBody>
            <a:bodyPr spcFirstLastPara="1" wrap="none" fromWordArt="1">
              <a:prstTxWarp prst="textArchUp">
                <a:avLst>
                  <a:gd name="adj" fmla="val 6956257"/>
                </a:avLst>
              </a:prstTxWarp>
            </a:bodyPr>
            <a:lstStyle/>
            <a:p>
              <a:pPr algn="ctr" eaLnBrk="0" hangingPunct="0"/>
              <a:r>
                <a:rPr lang="pt-BR" sz="2000" kern="10">
                  <a:solidFill>
                    <a:srgbClr val="000080"/>
                  </a:solidFill>
                  <a:latin typeface="Times New Roman"/>
                  <a:cs typeface="Times New Roman"/>
                </a:rPr>
                <a:t>C r e a t i n g   V a l u e   f o r   A e t n a ' s   B u s i n e s s e s</a:t>
              </a:r>
              <a:endParaRPr lang="en-US" sz="2000" kern="10">
                <a:solidFill>
                  <a:srgbClr val="000080"/>
                </a:solidFill>
                <a:latin typeface="Times New Roman"/>
                <a:cs typeface="Times New Roman"/>
              </a:endParaRPr>
            </a:p>
          </p:txBody>
        </p:sp>
        <p:sp>
          <p:nvSpPr>
            <p:cNvPr id="13" name="WordArt 120"/>
            <p:cNvSpPr>
              <a:spLocks noChangeArrowheads="1" noChangeShapeType="1" noTextEdit="1"/>
            </p:cNvSpPr>
            <p:nvPr/>
          </p:nvSpPr>
          <p:spPr bwMode="auto">
            <a:xfrm>
              <a:off x="910" y="2570"/>
              <a:ext cx="145"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Business</a:t>
              </a:r>
            </a:p>
          </p:txBody>
        </p:sp>
        <p:sp>
          <p:nvSpPr>
            <p:cNvPr id="14" name="WordArt 121"/>
            <p:cNvSpPr>
              <a:spLocks noChangeArrowheads="1" noChangeShapeType="1" noTextEdit="1"/>
            </p:cNvSpPr>
            <p:nvPr/>
          </p:nvSpPr>
          <p:spPr bwMode="auto">
            <a:xfrm rot="3697245">
              <a:off x="1102" y="2688"/>
              <a:ext cx="139"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Systems</a:t>
              </a:r>
            </a:p>
          </p:txBody>
        </p:sp>
        <p:sp>
          <p:nvSpPr>
            <p:cNvPr id="15" name="WordArt 122"/>
            <p:cNvSpPr>
              <a:spLocks noChangeArrowheads="1" noChangeShapeType="1" noTextEdit="1"/>
            </p:cNvSpPr>
            <p:nvPr/>
          </p:nvSpPr>
          <p:spPr bwMode="auto">
            <a:xfrm rot="17882459">
              <a:off x="1080" y="2887"/>
              <a:ext cx="181" cy="3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Application</a:t>
              </a:r>
            </a:p>
          </p:txBody>
        </p:sp>
        <p:sp>
          <p:nvSpPr>
            <p:cNvPr id="16" name="WordArt 123"/>
            <p:cNvSpPr>
              <a:spLocks noChangeArrowheads="1" noChangeShapeType="1" noTextEdit="1"/>
            </p:cNvSpPr>
            <p:nvPr/>
          </p:nvSpPr>
          <p:spPr bwMode="auto">
            <a:xfrm>
              <a:off x="887" y="2995"/>
              <a:ext cx="194"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Technology</a:t>
              </a:r>
            </a:p>
          </p:txBody>
        </p:sp>
        <p:sp>
          <p:nvSpPr>
            <p:cNvPr id="17" name="WordArt 124"/>
            <p:cNvSpPr>
              <a:spLocks noChangeArrowheads="1" noChangeShapeType="1" noTextEdit="1"/>
            </p:cNvSpPr>
            <p:nvPr/>
          </p:nvSpPr>
          <p:spPr bwMode="auto">
            <a:xfrm rot="3720275">
              <a:off x="709" y="2883"/>
              <a:ext cx="172"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Integration</a:t>
              </a:r>
            </a:p>
          </p:txBody>
        </p:sp>
        <p:sp>
          <p:nvSpPr>
            <p:cNvPr id="18" name="WordArt 125"/>
            <p:cNvSpPr>
              <a:spLocks noChangeArrowheads="1" noChangeShapeType="1" noTextEdit="1"/>
            </p:cNvSpPr>
            <p:nvPr/>
          </p:nvSpPr>
          <p:spPr bwMode="auto">
            <a:xfrm rot="-3790681">
              <a:off x="726" y="2684"/>
              <a:ext cx="133"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Security</a:t>
              </a:r>
            </a:p>
          </p:txBody>
        </p:sp>
        <p:sp>
          <p:nvSpPr>
            <p:cNvPr id="19" name="WordArt 126"/>
            <p:cNvSpPr>
              <a:spLocks noChangeArrowheads="1" noChangeShapeType="1" noTextEdit="1"/>
            </p:cNvSpPr>
            <p:nvPr/>
          </p:nvSpPr>
          <p:spPr bwMode="auto">
            <a:xfrm>
              <a:off x="894" y="2729"/>
              <a:ext cx="187" cy="16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3600" i="1" kern="10">
                  <a:solidFill>
                    <a:srgbClr val="FFFFFF"/>
                  </a:solidFill>
                  <a:effectLst>
                    <a:outerShdw dist="17961" dir="2700000" algn="ctr" rotWithShape="0">
                      <a:srgbClr val="5F5F5F">
                        <a:alpha val="80000"/>
                      </a:srgbClr>
                    </a:outerShdw>
                  </a:effectLst>
                  <a:latin typeface="Times New Roman"/>
                  <a:cs typeface="Times New Roman"/>
                </a:rPr>
                <a:t>EA</a:t>
              </a:r>
            </a:p>
          </p:txBody>
        </p:sp>
      </p:grpSp>
      <p:pic>
        <p:nvPicPr>
          <p:cNvPr id="21" name="Picture 20"/>
          <p:cNvPicPr>
            <a:picLocks noChangeAspect="1"/>
          </p:cNvPicPr>
          <p:nvPr userDrawn="1"/>
        </p:nvPicPr>
        <p:blipFill rotWithShape="1">
          <a:blip r:embed="rId4">
            <a:extLst>
              <a:ext uri="{28A0092B-C50C-407E-A947-70E740481C1C}">
                <a14:useLocalDpi xmlns:a14="http://schemas.microsoft.com/office/drawing/2010/main" val="0"/>
              </a:ext>
            </a:extLst>
          </a:blip>
          <a:srcRect b="-241"/>
          <a:stretch/>
        </p:blipFill>
        <p:spPr>
          <a:xfrm>
            <a:off x="0" y="4888524"/>
            <a:ext cx="12192000" cy="1978269"/>
          </a:xfrm>
          <a:prstGeom prst="rect">
            <a:avLst/>
          </a:prstGeom>
        </p:spPr>
      </p:pic>
    </p:spTree>
    <p:extLst>
      <p:ext uri="{BB962C8B-B14F-4D97-AF65-F5344CB8AC3E}">
        <p14:creationId xmlns:p14="http://schemas.microsoft.com/office/powerpoint/2010/main" val="25813853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Date Placeholder 9"/>
          <p:cNvSpPr>
            <a:spLocks noGrp="1"/>
          </p:cNvSpPr>
          <p:nvPr>
            <p:ph type="dt" sz="half" idx="10"/>
          </p:nvPr>
        </p:nvSpPr>
        <p:spPr/>
        <p:txBody>
          <a:bodyPr/>
          <a:lstStyle/>
          <a:p>
            <a:r>
              <a:rPr lang="en-US"/>
              <a:t>05/12/2017 17:00</a:t>
            </a:r>
          </a:p>
        </p:txBody>
      </p:sp>
      <p:sp>
        <p:nvSpPr>
          <p:cNvPr id="11" name="Footer Placeholder 10"/>
          <p:cNvSpPr>
            <a:spLocks noGrp="1"/>
          </p:cNvSpPr>
          <p:nvPr>
            <p:ph type="ftr" sz="quarter" idx="11"/>
          </p:nvPr>
        </p:nvSpPr>
        <p:spPr>
          <a:xfrm>
            <a:off x="3153508" y="6640292"/>
            <a:ext cx="5884984" cy="210344"/>
          </a:xfrm>
        </p:spPr>
        <p:txBody>
          <a:bodyPr/>
          <a:lstStyle/>
          <a:p>
            <a:r>
              <a:rPr lang="en-US"/>
              <a:t>Global Identity for Consumer Constituents</a:t>
            </a:r>
          </a:p>
        </p:txBody>
      </p:sp>
      <p:sp>
        <p:nvSpPr>
          <p:cNvPr id="12" name="Slide Number Placeholder 11"/>
          <p:cNvSpPr>
            <a:spLocks noGrp="1"/>
          </p:cNvSpPr>
          <p:nvPr>
            <p:ph type="sldNum" sz="quarter" idx="12"/>
          </p:nvPr>
        </p:nvSpPr>
        <p:spPr/>
        <p:txBody>
          <a:bodyPr/>
          <a:lstStyle/>
          <a:p>
            <a:fld id="{17F265F4-24EA-4AD2-8515-72D816661190}" type="slidenum">
              <a:rPr lang="en-US" smtClean="0"/>
              <a:pPr/>
              <a:t>‹#›</a:t>
            </a:fld>
            <a:endParaRPr lang="en-US"/>
          </a:p>
        </p:txBody>
      </p:sp>
      <p:sp>
        <p:nvSpPr>
          <p:cNvPr id="16" name="Title 15"/>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1" name="Content Placeholder 20"/>
          <p:cNvSpPr>
            <a:spLocks noGrp="1"/>
          </p:cNvSpPr>
          <p:nvPr>
            <p:ph sz="quarter" idx="13"/>
          </p:nvPr>
        </p:nvSpPr>
        <p:spPr>
          <a:xfrm>
            <a:off x="480485" y="979488"/>
            <a:ext cx="11231033" cy="5273530"/>
          </a:xfrm>
        </p:spPr>
        <p:txBody>
          <a:bodyPr/>
          <a:lstStyle>
            <a:lvl1pPr>
              <a:defRPr baseline="0">
                <a:solidFill>
                  <a:schemeClr val="accent1">
                    <a:lumMod val="7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6265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p:nvGrpSpPr>
        <p:grpSpPr>
          <a:xfrm>
            <a:off x="557929" y="429542"/>
            <a:ext cx="2872536"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465310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p:nvSpPr>
        <p:spPr>
          <a:xfrm>
            <a:off x="1" y="4350554"/>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latin typeface="+mn-lt"/>
            </a:endParaRPr>
          </a:p>
        </p:txBody>
      </p:sp>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p:nvGrpSpPr>
        <p:grpSpPr>
          <a:xfrm>
            <a:off x="557929" y="429542"/>
            <a:ext cx="2872536"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40733979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7065514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943790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2" y="1756549"/>
            <a:ext cx="391465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1" y="1756549"/>
            <a:ext cx="3912531"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Tree>
    <p:extLst>
      <p:ext uri="{BB962C8B-B14F-4D97-AF65-F5344CB8AC3E}">
        <p14:creationId xmlns:p14="http://schemas.microsoft.com/office/powerpoint/2010/main" val="2111489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203945501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5279" y="6373316"/>
            <a:ext cx="1279513"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rPr>
              <a:t>©2020 CVS Health and/or one of its affiliates. Confidential and proprietary.</a:t>
            </a:r>
          </a:p>
        </p:txBody>
      </p:sp>
      <p:sp>
        <p:nvSpPr>
          <p:cNvPr id="15" name="MSIPCMContentMarking" descr="{&quot;HashCode&quot;:-356254672,&quot;Placement&quot;:&quot;Footer&quot;}">
            <a:extLst>
              <a:ext uri="{FF2B5EF4-FFF2-40B4-BE49-F238E27FC236}">
                <a16:creationId xmlns:a16="http://schemas.microsoft.com/office/drawing/2014/main" id="{9863BAEA-104C-4DC4-94EA-7C493069F129}"/>
              </a:ext>
            </a:extLst>
          </p:cNvPr>
          <p:cNvSpPr txBox="1"/>
          <p:nvPr userDrawn="1"/>
        </p:nvSpPr>
        <p:spPr>
          <a:xfrm>
            <a:off x="0" y="6629836"/>
            <a:ext cx="709159"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Calibri" panose="020F0502020204030204" pitchFamily="34" charset="0"/>
                <a:cs typeface="Open Sans Light"/>
              </a:rPr>
              <a:t>Proprietary</a:t>
            </a:r>
          </a:p>
        </p:txBody>
      </p:sp>
      <p:pic>
        <p:nvPicPr>
          <p:cNvPr id="6" name="Picture 5" descr="A picture containing knife&#10;&#10;Description automatically generated">
            <a:extLst>
              <a:ext uri="{FF2B5EF4-FFF2-40B4-BE49-F238E27FC236}">
                <a16:creationId xmlns:a16="http://schemas.microsoft.com/office/drawing/2014/main" id="{DC13747A-EAA2-45E3-A8A0-1A494B86D158}"/>
              </a:ext>
            </a:extLst>
          </p:cNvPr>
          <p:cNvPicPr>
            <a:picLocks noChangeAspect="1"/>
          </p:cNvPicPr>
          <p:nvPr userDrawn="1"/>
        </p:nvPicPr>
        <p:blipFill>
          <a:blip r:embed="rId37"/>
          <a:stretch>
            <a:fillRect/>
          </a:stretch>
        </p:blipFill>
        <p:spPr>
          <a:xfrm>
            <a:off x="10285354" y="446389"/>
            <a:ext cx="1810965" cy="797194"/>
          </a:xfrm>
          <a:prstGeom prst="rect">
            <a:avLst/>
          </a:prstGeom>
        </p:spPr>
      </p:pic>
    </p:spTree>
    <p:extLst>
      <p:ext uri="{BB962C8B-B14F-4D97-AF65-F5344CB8AC3E}">
        <p14:creationId xmlns:p14="http://schemas.microsoft.com/office/powerpoint/2010/main" val="410697639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3" r:id="rId25"/>
    <p:sldLayoutId id="2147483854" r:id="rId26"/>
    <p:sldLayoutId id="2147483855" r:id="rId27"/>
    <p:sldLayoutId id="2147483856" r:id="rId28"/>
    <p:sldLayoutId id="2147483857" r:id="rId29"/>
    <p:sldLayoutId id="2147483859" r:id="rId30"/>
    <p:sldLayoutId id="2147483860" r:id="rId31"/>
    <p:sldLayoutId id="2147483852" r:id="rId32"/>
    <p:sldLayoutId id="2147483861" r:id="rId33"/>
    <p:sldLayoutId id="2147483863" r:id="rId34"/>
    <p:sldLayoutId id="2147483864" r:id="rId3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208AD-B065-42AE-BC44-9C064C83105A}"/>
              </a:ext>
            </a:extLst>
          </p:cNvPr>
          <p:cNvSpPr>
            <a:spLocks noGrp="1"/>
          </p:cNvSpPr>
          <p:nvPr>
            <p:ph type="ctrTitle"/>
          </p:nvPr>
        </p:nvSpPr>
        <p:spPr/>
        <p:txBody>
          <a:bodyPr/>
          <a:lstStyle/>
          <a:p>
            <a:r>
              <a:rPr lang="en-US"/>
              <a:t>Cloud </a:t>
            </a:r>
            <a:r>
              <a:rPr lang="en-US" dirty="0"/>
              <a:t>Native Culture- </a:t>
            </a:r>
            <a:r>
              <a:rPr lang="en-US" dirty="0" err="1"/>
              <a:t>PoV</a:t>
            </a:r>
            <a:endParaRPr lang="en-US" dirty="0"/>
          </a:p>
        </p:txBody>
      </p:sp>
      <p:sp>
        <p:nvSpPr>
          <p:cNvPr id="3" name="Text Placeholder 2">
            <a:extLst>
              <a:ext uri="{FF2B5EF4-FFF2-40B4-BE49-F238E27FC236}">
                <a16:creationId xmlns:a16="http://schemas.microsoft.com/office/drawing/2014/main" id="{AF0DA26D-3B67-40C8-9676-A9B16F9FFEA9}"/>
              </a:ext>
            </a:extLst>
          </p:cNvPr>
          <p:cNvSpPr>
            <a:spLocks noGrp="1"/>
          </p:cNvSpPr>
          <p:nvPr>
            <p:ph type="body" sz="quarter" idx="16"/>
          </p:nvPr>
        </p:nvSpPr>
        <p:spPr/>
        <p:txBody>
          <a:bodyPr vert="horz" lIns="0" tIns="0" rIns="0" bIns="0" rtlCol="0" anchor="t">
            <a:noAutofit/>
          </a:bodyPr>
          <a:lstStyle/>
          <a:p>
            <a:r>
              <a:rPr lang="en-US"/>
              <a:t>Karen Perez Diaz</a:t>
            </a:r>
          </a:p>
          <a:p>
            <a:r>
              <a:rPr lang="en-US" dirty="0"/>
              <a:t>July, 2021</a:t>
            </a:r>
          </a:p>
        </p:txBody>
      </p:sp>
    </p:spTree>
    <p:extLst>
      <p:ext uri="{BB962C8B-B14F-4D97-AF65-F5344CB8AC3E}">
        <p14:creationId xmlns:p14="http://schemas.microsoft.com/office/powerpoint/2010/main" val="3197154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A5F9A-755E-459F-B165-4A609C4DA448}"/>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16D5365B-B602-44AC-9EC5-1FECB96A2A26}"/>
              </a:ext>
            </a:extLst>
          </p:cNvPr>
          <p:cNvSpPr>
            <a:spLocks noGrp="1"/>
          </p:cNvSpPr>
          <p:nvPr>
            <p:ph idx="1"/>
          </p:nvPr>
        </p:nvSpPr>
        <p:spPr>
          <a:xfrm>
            <a:off x="557929" y="1767532"/>
            <a:ext cx="8997551" cy="3977640"/>
          </a:xfrm>
        </p:spPr>
        <p:txBody>
          <a:bodyPr/>
          <a:lstStyle/>
          <a:p>
            <a:r>
              <a:rPr lang="en-US" dirty="0"/>
              <a:t>To start striving towards a Cloud Native Approach  -</a:t>
            </a:r>
          </a:p>
          <a:p>
            <a:pPr marL="342900" indent="-342900">
              <a:buFont typeface="+mj-lt"/>
              <a:buAutoNum type="arabicPeriod"/>
            </a:pPr>
            <a:r>
              <a:rPr lang="en-US" dirty="0">
                <a:solidFill>
                  <a:schemeClr val="tx1">
                    <a:lumMod val="75000"/>
                    <a:lumOff val="25000"/>
                  </a:schemeClr>
                </a:solidFill>
              </a:rPr>
              <a:t>Publish </a:t>
            </a:r>
            <a:r>
              <a:rPr lang="en-US" dirty="0" err="1">
                <a:solidFill>
                  <a:schemeClr val="tx1">
                    <a:lumMod val="75000"/>
                    <a:lumOff val="25000"/>
                  </a:schemeClr>
                </a:solidFill>
              </a:rPr>
              <a:t>PoV</a:t>
            </a:r>
            <a:r>
              <a:rPr lang="en-US" dirty="0">
                <a:solidFill>
                  <a:schemeClr val="tx1">
                    <a:lumMod val="75000"/>
                    <a:lumOff val="25000"/>
                  </a:schemeClr>
                </a:solidFill>
              </a:rPr>
              <a:t> and disseminate core and benefits of adopting such an approach</a:t>
            </a:r>
          </a:p>
          <a:p>
            <a:pPr marL="342900" indent="-342900">
              <a:buFont typeface="+mj-lt"/>
              <a:buAutoNum type="arabicPeriod"/>
            </a:pPr>
            <a:r>
              <a:rPr lang="en-US" dirty="0">
                <a:solidFill>
                  <a:schemeClr val="tx1">
                    <a:lumMod val="75000"/>
                    <a:lumOff val="25000"/>
                  </a:schemeClr>
                </a:solidFill>
              </a:rPr>
              <a:t>Work with the Greenfield SDLC workstream group to delineate new process and steps</a:t>
            </a:r>
          </a:p>
          <a:p>
            <a:pPr marL="342900" indent="-342900">
              <a:buFont typeface="+mj-lt"/>
              <a:buAutoNum type="arabicPeriod"/>
            </a:pPr>
            <a:r>
              <a:rPr lang="en-US" dirty="0">
                <a:solidFill>
                  <a:schemeClr val="tx1">
                    <a:lumMod val="75000"/>
                    <a:lumOff val="25000"/>
                  </a:schemeClr>
                </a:solidFill>
              </a:rPr>
              <a:t>Work with the Brownfield SDLC workstream group to understand gaps and insert any catalysts that may push us forward</a:t>
            </a:r>
          </a:p>
          <a:p>
            <a:pPr marL="342900" indent="-342900">
              <a:buFont typeface="+mj-lt"/>
              <a:buAutoNum type="arabicPeriod"/>
            </a:pPr>
            <a:r>
              <a:rPr lang="en-US" dirty="0">
                <a:solidFill>
                  <a:schemeClr val="tx1">
                    <a:lumMod val="75000"/>
                    <a:lumOff val="25000"/>
                  </a:schemeClr>
                </a:solidFill>
              </a:rPr>
              <a:t>Help fund any initiatives that will help CVS accomplish the goal of going from Idea to Production Ready in </a:t>
            </a:r>
            <a:r>
              <a:rPr lang="en-US" dirty="0">
                <a:solidFill>
                  <a:schemeClr val="accent2"/>
                </a:solidFill>
              </a:rPr>
              <a:t>weeks</a:t>
            </a:r>
            <a:r>
              <a:rPr lang="en-US" dirty="0">
                <a:solidFill>
                  <a:schemeClr val="tx1">
                    <a:lumMod val="75000"/>
                    <a:lumOff val="25000"/>
                  </a:schemeClr>
                </a:solidFill>
              </a:rPr>
              <a:t> rather than months</a:t>
            </a:r>
          </a:p>
          <a:p>
            <a:pPr marL="342900" indent="-342900">
              <a:buFont typeface="+mj-lt"/>
              <a:buAutoNum type="arabicPeriod"/>
            </a:pPr>
            <a:r>
              <a:rPr lang="en-US" dirty="0"/>
              <a:t>Adopt cloud culture in our outsourcing model and manage vendors to do this, ensuring cloud culture is enforced through contracts, SLAs, etc.</a:t>
            </a:r>
          </a:p>
        </p:txBody>
      </p:sp>
    </p:spTree>
    <p:extLst>
      <p:ext uri="{BB962C8B-B14F-4D97-AF65-F5344CB8AC3E}">
        <p14:creationId xmlns:p14="http://schemas.microsoft.com/office/powerpoint/2010/main" val="25855494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67678-D315-D44D-B14D-46F0DCB8A9C2}"/>
              </a:ext>
            </a:extLst>
          </p:cNvPr>
          <p:cNvSpPr>
            <a:spLocks noGrp="1"/>
          </p:cNvSpPr>
          <p:nvPr>
            <p:ph type="title" idx="4294967295"/>
          </p:nvPr>
        </p:nvSpPr>
        <p:spPr>
          <a:xfrm>
            <a:off x="6733424" y="2875986"/>
            <a:ext cx="4882896" cy="713232"/>
          </a:xfrm>
        </p:spPr>
        <p:txBody>
          <a:bodyPr/>
          <a:lstStyle/>
          <a:p>
            <a:r>
              <a:rPr lang="en-US" sz="4000"/>
              <a:t>Into Action.</a:t>
            </a:r>
          </a:p>
        </p:txBody>
      </p:sp>
    </p:spTree>
    <p:extLst>
      <p:ext uri="{BB962C8B-B14F-4D97-AF65-F5344CB8AC3E}">
        <p14:creationId xmlns:p14="http://schemas.microsoft.com/office/powerpoint/2010/main" val="1158267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Business</a:t>
            </a:r>
            <a:r>
              <a:rPr lang="en-US" dirty="0">
                <a:latin typeface="Arial" panose="020B0604020202020204" pitchFamily="34" charset="0"/>
                <a:cs typeface="Arial" panose="020B0604020202020204" pitchFamily="34" charset="0"/>
                <a:sym typeface="Arial" panose="020B0604020202020204" pitchFamily="34" charset="0"/>
              </a:rPr>
              <a:t> </a:t>
            </a:r>
            <a:r>
              <a:rPr lang="en-US" dirty="0">
                <a:cs typeface="Arial" panose="020B0604020202020204" pitchFamily="34" charset="0"/>
                <a:sym typeface="Arial" panose="020B0604020202020204" pitchFamily="34" charset="0"/>
              </a:rPr>
              <a:t>Opportunity</a:t>
            </a:r>
          </a:p>
        </p:txBody>
      </p:sp>
      <p:sp>
        <p:nvSpPr>
          <p:cNvPr id="3" name="Text Placeholder 2"/>
          <p:cNvSpPr>
            <a:spLocks noGrp="1"/>
          </p:cNvSpPr>
          <p:nvPr>
            <p:ph type="body" sz="quarter" idx="4294967295"/>
          </p:nvPr>
        </p:nvSpPr>
        <p:spPr>
          <a:xfrm>
            <a:off x="559372" y="679475"/>
            <a:ext cx="9685338" cy="422275"/>
          </a:xfrm>
        </p:spPr>
        <p:txBody>
          <a:bodyPr/>
          <a:lstStyle/>
          <a:p>
            <a:r>
              <a:rPr lang="en-US" dirty="0">
                <a:cs typeface="Arial" panose="020B0604020202020204" pitchFamily="34" charset="0"/>
                <a:sym typeface="Arial" panose="020B0604020202020204" pitchFamily="34" charset="0"/>
              </a:rPr>
              <a:t>Shifting to a Cloud Native </a:t>
            </a:r>
            <a:r>
              <a:rPr lang="en-US" dirty="0">
                <a:solidFill>
                  <a:schemeClr val="accent3"/>
                </a:solidFill>
                <a:cs typeface="Arial" panose="020B0604020202020204" pitchFamily="34" charset="0"/>
                <a:sym typeface="Arial" panose="020B0604020202020204" pitchFamily="34" charset="0"/>
              </a:rPr>
              <a:t>culture</a:t>
            </a:r>
            <a:r>
              <a:rPr lang="en-US" dirty="0">
                <a:cs typeface="Arial" panose="020B0604020202020204" pitchFamily="34" charset="0"/>
                <a:sym typeface="Arial" panose="020B0604020202020204" pitchFamily="34" charset="0"/>
              </a:rPr>
              <a:t> is a major opportunity for CVS Health to speed innovation in order to gain market growth, mitigate risk and optimize our business technology and processes</a:t>
            </a:r>
          </a:p>
        </p:txBody>
      </p:sp>
      <p:cxnSp>
        <p:nvCxnSpPr>
          <p:cNvPr id="5" name="Straight Connector 4"/>
          <p:cNvCxnSpPr/>
          <p:nvPr/>
        </p:nvCxnSpPr>
        <p:spPr>
          <a:xfrm>
            <a:off x="561017" y="2053094"/>
            <a:ext cx="11104165"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4458711" y="1877324"/>
            <a:ext cx="3302606"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2199" b="1" dirty="0">
                <a:solidFill>
                  <a:schemeClr val="tx2"/>
                </a:solidFill>
                <a:cs typeface="Arial" panose="020B0604020202020204" pitchFamily="34" charset="0"/>
                <a:sym typeface="Arial" panose="020B0604020202020204" pitchFamily="34" charset="0"/>
              </a:rPr>
              <a:t>Business Opportunity</a:t>
            </a:r>
          </a:p>
        </p:txBody>
      </p:sp>
      <p:graphicFrame>
        <p:nvGraphicFramePr>
          <p:cNvPr id="7" name="Table 6"/>
          <p:cNvGraphicFramePr>
            <a:graphicFrameLocks noGrp="1"/>
          </p:cNvGraphicFramePr>
          <p:nvPr/>
        </p:nvGraphicFramePr>
        <p:xfrm>
          <a:off x="909732" y="2467525"/>
          <a:ext cx="10755449" cy="3475200"/>
        </p:xfrm>
        <a:graphic>
          <a:graphicData uri="http://schemas.openxmlformats.org/drawingml/2006/table">
            <a:tbl>
              <a:tblPr firstRow="1" bandRow="1">
                <a:tableStyleId>{5C22544A-7EE6-4342-B048-85BDC9FD1C3A}</a:tableStyleId>
              </a:tblPr>
              <a:tblGrid>
                <a:gridCol w="2358391">
                  <a:extLst>
                    <a:ext uri="{9D8B030D-6E8A-4147-A177-3AD203B41FA5}">
                      <a16:colId xmlns:a16="http://schemas.microsoft.com/office/drawing/2014/main" val="1007492224"/>
                    </a:ext>
                  </a:extLst>
                </a:gridCol>
                <a:gridCol w="8397058">
                  <a:extLst>
                    <a:ext uri="{9D8B030D-6E8A-4147-A177-3AD203B41FA5}">
                      <a16:colId xmlns:a16="http://schemas.microsoft.com/office/drawing/2014/main" val="1418328279"/>
                    </a:ext>
                  </a:extLst>
                </a:gridCol>
              </a:tblGrid>
              <a:tr h="1158400">
                <a:tc>
                  <a:txBody>
                    <a:bodyPr/>
                    <a:lstStyle/>
                    <a:p>
                      <a:pPr lvl="1"/>
                      <a:r>
                        <a:rPr lang="en-US" sz="1800" b="0" dirty="0">
                          <a:solidFill>
                            <a:schemeClr val="tx1">
                              <a:lumMod val="75000"/>
                              <a:lumOff val="25000"/>
                            </a:schemeClr>
                          </a:solidFill>
                          <a:latin typeface="+mn-lt"/>
                          <a:cs typeface="Arial" panose="020B0604020202020204" pitchFamily="34" charset="0"/>
                          <a:sym typeface="Arial" panose="020B0604020202020204" pitchFamily="34" charset="0"/>
                        </a:rPr>
                        <a:t>Market Growth</a:t>
                      </a:r>
                    </a:p>
                  </a:txBody>
                  <a:tcPr marL="91416" marR="91416" marT="45708" marB="45708" anchor="ctr">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dirty="0">
                          <a:solidFill>
                            <a:schemeClr val="tx2"/>
                          </a:solidFill>
                          <a:latin typeface="+mn-lt"/>
                          <a:cs typeface="Arial" panose="020B0604020202020204" pitchFamily="34" charset="0"/>
                          <a:sym typeface="Arial" panose="020B0604020202020204" pitchFamily="34" charset="0"/>
                        </a:rPr>
                        <a:t>Reduced time to market and Innovation Readiness</a:t>
                      </a:r>
                      <a:r>
                        <a:rPr lang="en-US" sz="1600" b="0" dirty="0">
                          <a:solidFill>
                            <a:schemeClr val="tx2"/>
                          </a:solidFill>
                          <a:latin typeface="+mn-lt"/>
                          <a:cs typeface="Arial" panose="020B0604020202020204" pitchFamily="34" charset="0"/>
                          <a:sym typeface="Arial" panose="020B0604020202020204" pitchFamily="34" charset="0"/>
                        </a:rPr>
                        <a:t> by </a:t>
                      </a:r>
                      <a:r>
                        <a:rPr lang="en-US" sz="1600" b="0" i="0" dirty="0">
                          <a:solidFill>
                            <a:schemeClr val="tx2"/>
                          </a:solidFill>
                          <a:latin typeface="+mn-lt"/>
                          <a:cs typeface="Arial" panose="020B0604020202020204" pitchFamily="34" charset="0"/>
                          <a:sym typeface="Arial" panose="020B0604020202020204" pitchFamily="34" charset="0"/>
                        </a:rPr>
                        <a:t>rapidly bringing disruptive ideas to life and capture new market niches ahead of the competition, with measurements to empirically assess ideas’ impact</a:t>
                      </a:r>
                    </a:p>
                  </a:txBody>
                  <a:tcPr marL="91416" marR="91416" marT="45708" marB="45708" anchor="ctr">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157905801"/>
                  </a:ext>
                </a:extLst>
              </a:tr>
              <a:tr h="1158400">
                <a:tc>
                  <a:txBody>
                    <a:bodyPr/>
                    <a:lstStyle/>
                    <a:p>
                      <a:pPr lvl="1"/>
                      <a:r>
                        <a:rPr lang="en-US" sz="1800" b="0" dirty="0">
                          <a:solidFill>
                            <a:schemeClr val="tx1">
                              <a:lumMod val="75000"/>
                              <a:lumOff val="25000"/>
                            </a:schemeClr>
                          </a:solidFill>
                          <a:latin typeface="+mn-lt"/>
                          <a:cs typeface="Arial" panose="020B0604020202020204" pitchFamily="34" charset="0"/>
                          <a:sym typeface="Arial" panose="020B0604020202020204" pitchFamily="34" charset="0"/>
                        </a:rPr>
                        <a:t>Risk Mitigation</a:t>
                      </a:r>
                    </a:p>
                  </a:txBody>
                  <a:tcPr marL="91416" marR="91416" marT="45708" marB="45708"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dirty="0">
                          <a:solidFill>
                            <a:schemeClr val="tx2"/>
                          </a:solidFill>
                          <a:latin typeface="+mn-lt"/>
                          <a:cs typeface="Arial" panose="020B0604020202020204" pitchFamily="34" charset="0"/>
                          <a:sym typeface="Arial" panose="020B0604020202020204" pitchFamily="34" charset="0"/>
                        </a:rPr>
                        <a:t>Resiliency and security. </a:t>
                      </a:r>
                      <a:r>
                        <a:rPr lang="en-US" sz="1600" b="0" dirty="0">
                          <a:solidFill>
                            <a:schemeClr val="tx2"/>
                          </a:solidFill>
                          <a:latin typeface="+mn-lt"/>
                          <a:cs typeface="Arial" panose="020B0604020202020204" pitchFamily="34" charset="0"/>
                          <a:sym typeface="Arial" panose="020B0604020202020204" pitchFamily="34" charset="0"/>
                        </a:rPr>
                        <a:t>Well architected solutions decouple themselves from the underlying infrastructure and follow a zero trust security mod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dirty="0">
                          <a:solidFill>
                            <a:schemeClr val="tx2"/>
                          </a:solidFill>
                          <a:latin typeface="+mn-lt"/>
                          <a:cs typeface="Arial" panose="020B0604020202020204" pitchFamily="34" charset="0"/>
                          <a:sym typeface="Arial" panose="020B0604020202020204" pitchFamily="34" charset="0"/>
                        </a:rPr>
                        <a:t>Deployment confidence </a:t>
                      </a:r>
                      <a:r>
                        <a:rPr lang="en-US" sz="1600" b="0" dirty="0">
                          <a:solidFill>
                            <a:schemeClr val="tx2"/>
                          </a:solidFill>
                          <a:latin typeface="+mn-lt"/>
                          <a:cs typeface="Arial" panose="020B0604020202020204" pitchFamily="34" charset="0"/>
                          <a:sym typeface="Arial" panose="020B0604020202020204" pitchFamily="34" charset="0"/>
                        </a:rPr>
                        <a:t>thanks to highly automated delivers which reduce the fear of change</a:t>
                      </a:r>
                      <a:endParaRPr lang="en-US" sz="1600" b="1" dirty="0">
                        <a:solidFill>
                          <a:schemeClr val="tx2"/>
                        </a:solidFill>
                        <a:latin typeface="+mn-lt"/>
                        <a:cs typeface="Arial" panose="020B0604020202020204" pitchFamily="34" charset="0"/>
                        <a:sym typeface="Arial" panose="020B0604020202020204" pitchFamily="34" charset="0"/>
                      </a:endParaRPr>
                    </a:p>
                  </a:txBody>
                  <a:tcPr marL="91416" marR="91416" marT="45708" marB="45708"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4145929556"/>
                  </a:ext>
                </a:extLst>
              </a:tr>
              <a:tr h="1158400">
                <a:tc>
                  <a:txBody>
                    <a:bodyPr/>
                    <a:lstStyle/>
                    <a:p>
                      <a:pPr lvl="1"/>
                      <a:r>
                        <a:rPr lang="en-US" sz="1800" b="0" dirty="0">
                          <a:solidFill>
                            <a:schemeClr val="tx1">
                              <a:lumMod val="75000"/>
                              <a:lumOff val="25000"/>
                            </a:schemeClr>
                          </a:solidFill>
                          <a:latin typeface="+mn-lt"/>
                          <a:cs typeface="Arial" panose="020B0604020202020204" pitchFamily="34" charset="0"/>
                          <a:sym typeface="Arial" panose="020B0604020202020204" pitchFamily="34" charset="0"/>
                        </a:rPr>
                        <a:t>Cost Reduction</a:t>
                      </a:r>
                    </a:p>
                  </a:txBody>
                  <a:tcPr marL="91416" marR="91416" marT="45708" marB="45708"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dirty="0">
                          <a:solidFill>
                            <a:schemeClr val="tx2"/>
                          </a:solidFill>
                          <a:latin typeface="+mn-lt"/>
                          <a:cs typeface="Arial" panose="020B0604020202020204" pitchFamily="34" charset="0"/>
                          <a:sym typeface="Arial" panose="020B0604020202020204" pitchFamily="34" charset="0"/>
                        </a:rPr>
                        <a:t>Optimized high value models </a:t>
                      </a:r>
                      <a:r>
                        <a:rPr lang="en-US" sz="1600" b="0" dirty="0">
                          <a:solidFill>
                            <a:schemeClr val="tx2"/>
                          </a:solidFill>
                          <a:latin typeface="+mn-lt"/>
                          <a:cs typeface="Arial" panose="020B0604020202020204" pitchFamily="34" charset="0"/>
                          <a:sym typeface="Arial" panose="020B0604020202020204" pitchFamily="34" charset="0"/>
                        </a:rPr>
                        <a:t>that focus on adding value to the busin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dirty="0">
                          <a:solidFill>
                            <a:schemeClr val="tx2"/>
                          </a:solidFill>
                          <a:latin typeface="+mn-lt"/>
                          <a:cs typeface="Arial" panose="020B0604020202020204" pitchFamily="34" charset="0"/>
                          <a:sym typeface="Arial" panose="020B0604020202020204" pitchFamily="34" charset="0"/>
                        </a:rPr>
                        <a:t>Elastic cost models</a:t>
                      </a:r>
                      <a:r>
                        <a:rPr lang="en-US" sz="1600" b="0" dirty="0">
                          <a:solidFill>
                            <a:schemeClr val="tx2"/>
                          </a:solidFill>
                          <a:latin typeface="+mn-lt"/>
                          <a:cs typeface="Arial" panose="020B0604020202020204" pitchFamily="34" charset="0"/>
                          <a:sym typeface="Arial" panose="020B0604020202020204" pitchFamily="34" charset="0"/>
                        </a:rPr>
                        <a:t> where solutions are designed to use only the resources they need</a:t>
                      </a:r>
                    </a:p>
                  </a:txBody>
                  <a:tcPr marL="91416" marR="91416" marT="45708" marB="45708"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3869764778"/>
                  </a:ext>
                </a:extLst>
              </a:tr>
            </a:tbl>
          </a:graphicData>
        </a:graphic>
      </p:graphicFrame>
      <p:sp>
        <p:nvSpPr>
          <p:cNvPr id="27" name="Oval 26">
            <a:extLst>
              <a:ext uri="{FF2B5EF4-FFF2-40B4-BE49-F238E27FC236}">
                <a16:creationId xmlns:a16="http://schemas.microsoft.com/office/drawing/2014/main" id="{BC961179-81D4-47A6-8EAF-910B55EB37B8}"/>
              </a:ext>
            </a:extLst>
          </p:cNvPr>
          <p:cNvSpPr/>
          <p:nvPr/>
        </p:nvSpPr>
        <p:spPr>
          <a:xfrm>
            <a:off x="574818" y="2729988"/>
            <a:ext cx="636395" cy="662499"/>
          </a:xfrm>
          <a:prstGeom prst="ellipse">
            <a:avLst/>
          </a:prstGeom>
          <a:solidFill>
            <a:schemeClr val="accent4">
              <a:lumMod val="20000"/>
              <a:lumOff val="80000"/>
            </a:schemeClr>
          </a:solidFill>
          <a:ln>
            <a:solidFill>
              <a:schemeClr val="accent1"/>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panose="020B0604020202020204" pitchFamily="34" charset="0"/>
              <a:cs typeface="Arial" panose="020B0604020202020204" pitchFamily="34" charset="0"/>
              <a:sym typeface="Arial" panose="020B0604020202020204" pitchFamily="34" charset="0"/>
            </a:endParaRPr>
          </a:p>
        </p:txBody>
      </p:sp>
      <p:grpSp>
        <p:nvGrpSpPr>
          <p:cNvPr id="29" name="Group 28">
            <a:extLst>
              <a:ext uri="{FF2B5EF4-FFF2-40B4-BE49-F238E27FC236}">
                <a16:creationId xmlns:a16="http://schemas.microsoft.com/office/drawing/2014/main" id="{8EA77600-0633-4A8E-B527-ADC6C4B58C07}"/>
              </a:ext>
            </a:extLst>
          </p:cNvPr>
          <p:cNvGrpSpPr/>
          <p:nvPr/>
        </p:nvGrpSpPr>
        <p:grpSpPr>
          <a:xfrm>
            <a:off x="628573" y="2794686"/>
            <a:ext cx="556502" cy="556502"/>
            <a:chOff x="3774810" y="1302560"/>
            <a:chExt cx="814269" cy="814269"/>
          </a:xfrm>
        </p:grpSpPr>
        <p:sp>
          <p:nvSpPr>
            <p:cNvPr id="30" name="Oval 29">
              <a:extLst>
                <a:ext uri="{FF2B5EF4-FFF2-40B4-BE49-F238E27FC236}">
                  <a16:creationId xmlns:a16="http://schemas.microsoft.com/office/drawing/2014/main" id="{69EF2021-300E-4C9A-B37B-DCD099BF8B5A}"/>
                </a:ext>
              </a:extLst>
            </p:cNvPr>
            <p:cNvSpPr/>
            <p:nvPr/>
          </p:nvSpPr>
          <p:spPr>
            <a:xfrm>
              <a:off x="3774810" y="1302560"/>
              <a:ext cx="814269" cy="81426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37160" rIns="0" rtlCol="0" anchor="t"/>
            <a:lstStyle/>
            <a:p>
              <a:pPr algn="ctr"/>
              <a:endParaRPr lang="en-US" sz="1400" b="1">
                <a:solidFill>
                  <a:schemeClr val="bg1"/>
                </a:solidFill>
                <a:latin typeface="CVS Health Sans" panose="020B0504020202020204" pitchFamily="34" charset="0"/>
                <a:cs typeface="Arial" panose="020B0604020202020204" pitchFamily="34" charset="0"/>
                <a:sym typeface="Arial" panose="020B0604020202020204" pitchFamily="34" charset="0"/>
              </a:endParaRPr>
            </a:p>
          </p:txBody>
        </p:sp>
        <p:pic>
          <p:nvPicPr>
            <p:cNvPr id="31" name="Picture 8" descr="https://static.thenounproject.com/png/235453-200.png">
              <a:extLst>
                <a:ext uri="{FF2B5EF4-FFF2-40B4-BE49-F238E27FC236}">
                  <a16:creationId xmlns:a16="http://schemas.microsoft.com/office/drawing/2014/main" id="{D8A80C03-FBE8-439F-8D29-56450DE2E805}"/>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3818270" y="1326508"/>
              <a:ext cx="727348" cy="727348"/>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Oval 31">
            <a:extLst>
              <a:ext uri="{FF2B5EF4-FFF2-40B4-BE49-F238E27FC236}">
                <a16:creationId xmlns:a16="http://schemas.microsoft.com/office/drawing/2014/main" id="{F9ED9C40-C90E-4F53-8074-FA7F0D7858D3}"/>
              </a:ext>
            </a:extLst>
          </p:cNvPr>
          <p:cNvSpPr/>
          <p:nvPr/>
        </p:nvSpPr>
        <p:spPr>
          <a:xfrm>
            <a:off x="580235" y="3863048"/>
            <a:ext cx="636395" cy="662497"/>
          </a:xfrm>
          <a:prstGeom prst="ellipse">
            <a:avLst/>
          </a:prstGeom>
          <a:solidFill>
            <a:schemeClr val="accent4">
              <a:lumMod val="20000"/>
              <a:lumOff val="80000"/>
            </a:schemeClr>
          </a:solidFill>
          <a:ln>
            <a:solidFill>
              <a:schemeClr val="accent1"/>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panose="020B0604020202020204" pitchFamily="34" charset="0"/>
              <a:cs typeface="Arial" panose="020B0604020202020204" pitchFamily="34" charset="0"/>
              <a:sym typeface="Arial" panose="020B0604020202020204" pitchFamily="34" charset="0"/>
            </a:endParaRPr>
          </a:p>
        </p:txBody>
      </p:sp>
      <p:grpSp>
        <p:nvGrpSpPr>
          <p:cNvPr id="33" name="Group 39">
            <a:extLst>
              <a:ext uri="{FF2B5EF4-FFF2-40B4-BE49-F238E27FC236}">
                <a16:creationId xmlns:a16="http://schemas.microsoft.com/office/drawing/2014/main" id="{D46A42A9-426D-46E4-AD49-24F18BC3D38D}"/>
              </a:ext>
            </a:extLst>
          </p:cNvPr>
          <p:cNvGrpSpPr>
            <a:grpSpLocks noChangeAspect="1"/>
          </p:cNvGrpSpPr>
          <p:nvPr/>
        </p:nvGrpSpPr>
        <p:grpSpPr bwMode="auto">
          <a:xfrm>
            <a:off x="648400" y="3935873"/>
            <a:ext cx="516845" cy="516845"/>
            <a:chOff x="3662" y="570"/>
            <a:chExt cx="602" cy="602"/>
          </a:xfrm>
        </p:grpSpPr>
        <p:sp>
          <p:nvSpPr>
            <p:cNvPr id="34" name="Oval 40">
              <a:extLst>
                <a:ext uri="{FF2B5EF4-FFF2-40B4-BE49-F238E27FC236}">
                  <a16:creationId xmlns:a16="http://schemas.microsoft.com/office/drawing/2014/main" id="{E3E42798-95FF-45D1-9EC6-F6B41946DAC5}"/>
                </a:ext>
              </a:extLst>
            </p:cNvPr>
            <p:cNvSpPr>
              <a:spLocks noChangeArrowheads="1"/>
            </p:cNvSpPr>
            <p:nvPr/>
          </p:nvSpPr>
          <p:spPr bwMode="auto">
            <a:xfrm>
              <a:off x="3662" y="570"/>
              <a:ext cx="602" cy="602"/>
            </a:xfrm>
            <a:prstGeom prst="ellipse">
              <a:avLst/>
            </a:pr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sp>
          <p:nvSpPr>
            <p:cNvPr id="35" name="Freeform 41">
              <a:extLst>
                <a:ext uri="{FF2B5EF4-FFF2-40B4-BE49-F238E27FC236}">
                  <a16:creationId xmlns:a16="http://schemas.microsoft.com/office/drawing/2014/main" id="{7A70F60E-07DD-4688-9605-BC202C6B150C}"/>
                </a:ext>
              </a:extLst>
            </p:cNvPr>
            <p:cNvSpPr>
              <a:spLocks noEditPoints="1"/>
            </p:cNvSpPr>
            <p:nvPr/>
          </p:nvSpPr>
          <p:spPr bwMode="auto">
            <a:xfrm>
              <a:off x="3776" y="668"/>
              <a:ext cx="349" cy="444"/>
            </a:xfrm>
            <a:custGeom>
              <a:avLst/>
              <a:gdLst>
                <a:gd name="T0" fmla="*/ 81 w 146"/>
                <a:gd name="T1" fmla="*/ 62 h 186"/>
                <a:gd name="T2" fmla="*/ 88 w 146"/>
                <a:gd name="T3" fmla="*/ 68 h 186"/>
                <a:gd name="T4" fmla="*/ 83 w 146"/>
                <a:gd name="T5" fmla="*/ 94 h 186"/>
                <a:gd name="T6" fmla="*/ 75 w 146"/>
                <a:gd name="T7" fmla="*/ 71 h 186"/>
                <a:gd name="T8" fmla="*/ 76 w 146"/>
                <a:gd name="T9" fmla="*/ 63 h 186"/>
                <a:gd name="T10" fmla="*/ 84 w 146"/>
                <a:gd name="T11" fmla="*/ 99 h 186"/>
                <a:gd name="T12" fmla="*/ 77 w 146"/>
                <a:gd name="T13" fmla="*/ 101 h 186"/>
                <a:gd name="T14" fmla="*/ 75 w 146"/>
                <a:gd name="T15" fmla="*/ 108 h 186"/>
                <a:gd name="T16" fmla="*/ 79 w 146"/>
                <a:gd name="T17" fmla="*/ 111 h 186"/>
                <a:gd name="T18" fmla="*/ 84 w 146"/>
                <a:gd name="T19" fmla="*/ 111 h 186"/>
                <a:gd name="T20" fmla="*/ 87 w 146"/>
                <a:gd name="T21" fmla="*/ 108 h 186"/>
                <a:gd name="T22" fmla="*/ 87 w 146"/>
                <a:gd name="T23" fmla="*/ 103 h 186"/>
                <a:gd name="T24" fmla="*/ 145 w 146"/>
                <a:gd name="T25" fmla="*/ 129 h 186"/>
                <a:gd name="T26" fmla="*/ 87 w 146"/>
                <a:gd name="T27" fmla="*/ 133 h 186"/>
                <a:gd name="T28" fmla="*/ 81 w 146"/>
                <a:gd name="T29" fmla="*/ 186 h 186"/>
                <a:gd name="T30" fmla="*/ 74 w 146"/>
                <a:gd name="T31" fmla="*/ 133 h 186"/>
                <a:gd name="T32" fmla="*/ 18 w 146"/>
                <a:gd name="T33" fmla="*/ 129 h 186"/>
                <a:gd name="T34" fmla="*/ 74 w 146"/>
                <a:gd name="T35" fmla="*/ 24 h 186"/>
                <a:gd name="T36" fmla="*/ 89 w 146"/>
                <a:gd name="T37" fmla="*/ 24 h 186"/>
                <a:gd name="T38" fmla="*/ 145 w 146"/>
                <a:gd name="T39" fmla="*/ 129 h 186"/>
                <a:gd name="T40" fmla="*/ 81 w 146"/>
                <a:gd name="T41" fmla="*/ 35 h 186"/>
                <a:gd name="T42" fmla="*/ 131 w 146"/>
                <a:gd name="T43" fmla="*/ 121 h 186"/>
                <a:gd name="T44" fmla="*/ 20 w 146"/>
                <a:gd name="T45" fmla="*/ 87 h 186"/>
                <a:gd name="T46" fmla="*/ 8 w 146"/>
                <a:gd name="T47" fmla="*/ 84 h 186"/>
                <a:gd name="T48" fmla="*/ 12 w 146"/>
                <a:gd name="T49" fmla="*/ 38 h 186"/>
                <a:gd name="T50" fmla="*/ 59 w 146"/>
                <a:gd name="T51" fmla="*/ 34 h 186"/>
                <a:gd name="T52" fmla="*/ 12 w 146"/>
                <a:gd name="T53" fmla="*/ 30 h 186"/>
                <a:gd name="T54" fmla="*/ 0 w 146"/>
                <a:gd name="T55" fmla="*/ 84 h 186"/>
                <a:gd name="T56" fmla="*/ 20 w 146"/>
                <a:gd name="T57" fmla="*/ 96 h 186"/>
                <a:gd name="T58" fmla="*/ 138 w 146"/>
                <a:gd name="T59" fmla="*/ 45 h 186"/>
                <a:gd name="T60" fmla="*/ 129 w 146"/>
                <a:gd name="T61" fmla="*/ 0 h 186"/>
                <a:gd name="T62" fmla="*/ 65 w 146"/>
                <a:gd name="T63" fmla="*/ 9 h 186"/>
                <a:gd name="T64" fmla="*/ 67 w 146"/>
                <a:gd name="T65" fmla="*/ 21 h 186"/>
                <a:gd name="T66" fmla="*/ 70 w 146"/>
                <a:gd name="T67" fmla="*/ 9 h 186"/>
                <a:gd name="T68" fmla="*/ 129 w 146"/>
                <a:gd name="T69" fmla="*/ 6 h 186"/>
                <a:gd name="T70" fmla="*/ 133 w 146"/>
                <a:gd name="T71" fmla="*/ 45 h 186"/>
                <a:gd name="T72" fmla="*/ 115 w 146"/>
                <a:gd name="T73" fmla="*/ 49 h 186"/>
                <a:gd name="T74" fmla="*/ 115 w 146"/>
                <a:gd name="T75" fmla="*/ 54 h 186"/>
                <a:gd name="T76" fmla="*/ 138 w 146"/>
                <a:gd name="T77" fmla="*/ 4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6" h="186">
                  <a:moveTo>
                    <a:pt x="76" y="63"/>
                  </a:moveTo>
                  <a:cubicBezTo>
                    <a:pt x="78" y="62"/>
                    <a:pt x="79" y="62"/>
                    <a:pt x="81" y="62"/>
                  </a:cubicBezTo>
                  <a:cubicBezTo>
                    <a:pt x="83" y="62"/>
                    <a:pt x="85" y="62"/>
                    <a:pt x="86" y="63"/>
                  </a:cubicBezTo>
                  <a:cubicBezTo>
                    <a:pt x="88" y="64"/>
                    <a:pt x="88" y="66"/>
                    <a:pt x="88" y="68"/>
                  </a:cubicBezTo>
                  <a:cubicBezTo>
                    <a:pt x="88" y="68"/>
                    <a:pt x="88" y="69"/>
                    <a:pt x="88" y="71"/>
                  </a:cubicBezTo>
                  <a:cubicBezTo>
                    <a:pt x="83" y="94"/>
                    <a:pt x="83" y="94"/>
                    <a:pt x="83" y="94"/>
                  </a:cubicBezTo>
                  <a:cubicBezTo>
                    <a:pt x="79" y="94"/>
                    <a:pt x="79" y="94"/>
                    <a:pt x="79" y="94"/>
                  </a:cubicBezTo>
                  <a:cubicBezTo>
                    <a:pt x="75" y="71"/>
                    <a:pt x="75" y="71"/>
                    <a:pt x="75" y="71"/>
                  </a:cubicBezTo>
                  <a:cubicBezTo>
                    <a:pt x="75" y="70"/>
                    <a:pt x="74" y="68"/>
                    <a:pt x="74" y="68"/>
                  </a:cubicBezTo>
                  <a:cubicBezTo>
                    <a:pt x="74" y="66"/>
                    <a:pt x="75" y="64"/>
                    <a:pt x="76" y="63"/>
                  </a:cubicBezTo>
                  <a:moveTo>
                    <a:pt x="86" y="101"/>
                  </a:moveTo>
                  <a:cubicBezTo>
                    <a:pt x="85" y="100"/>
                    <a:pt x="85" y="100"/>
                    <a:pt x="84" y="99"/>
                  </a:cubicBezTo>
                  <a:cubicBezTo>
                    <a:pt x="83" y="99"/>
                    <a:pt x="82" y="99"/>
                    <a:pt x="81" y="99"/>
                  </a:cubicBezTo>
                  <a:cubicBezTo>
                    <a:pt x="79" y="99"/>
                    <a:pt x="78" y="99"/>
                    <a:pt x="77" y="101"/>
                  </a:cubicBezTo>
                  <a:cubicBezTo>
                    <a:pt x="75" y="102"/>
                    <a:pt x="75" y="104"/>
                    <a:pt x="75" y="105"/>
                  </a:cubicBezTo>
                  <a:cubicBezTo>
                    <a:pt x="75" y="106"/>
                    <a:pt x="75" y="107"/>
                    <a:pt x="75" y="108"/>
                  </a:cubicBezTo>
                  <a:cubicBezTo>
                    <a:pt x="76" y="109"/>
                    <a:pt x="76" y="110"/>
                    <a:pt x="77" y="110"/>
                  </a:cubicBezTo>
                  <a:cubicBezTo>
                    <a:pt x="77" y="111"/>
                    <a:pt x="78" y="111"/>
                    <a:pt x="79" y="111"/>
                  </a:cubicBezTo>
                  <a:cubicBezTo>
                    <a:pt x="79" y="112"/>
                    <a:pt x="80" y="112"/>
                    <a:pt x="81" y="112"/>
                  </a:cubicBezTo>
                  <a:cubicBezTo>
                    <a:pt x="82" y="112"/>
                    <a:pt x="83" y="112"/>
                    <a:pt x="84" y="111"/>
                  </a:cubicBezTo>
                  <a:cubicBezTo>
                    <a:pt x="85" y="111"/>
                    <a:pt x="85" y="111"/>
                    <a:pt x="86" y="110"/>
                  </a:cubicBezTo>
                  <a:cubicBezTo>
                    <a:pt x="87" y="110"/>
                    <a:pt x="87" y="109"/>
                    <a:pt x="87" y="108"/>
                  </a:cubicBezTo>
                  <a:cubicBezTo>
                    <a:pt x="88" y="107"/>
                    <a:pt x="88" y="106"/>
                    <a:pt x="88" y="105"/>
                  </a:cubicBezTo>
                  <a:cubicBezTo>
                    <a:pt x="88" y="105"/>
                    <a:pt x="88" y="104"/>
                    <a:pt x="87" y="103"/>
                  </a:cubicBezTo>
                  <a:cubicBezTo>
                    <a:pt x="87" y="102"/>
                    <a:pt x="87" y="101"/>
                    <a:pt x="86" y="101"/>
                  </a:cubicBezTo>
                  <a:moveTo>
                    <a:pt x="145" y="129"/>
                  </a:moveTo>
                  <a:cubicBezTo>
                    <a:pt x="143" y="131"/>
                    <a:pt x="140" y="133"/>
                    <a:pt x="137" y="133"/>
                  </a:cubicBezTo>
                  <a:cubicBezTo>
                    <a:pt x="87" y="133"/>
                    <a:pt x="87" y="133"/>
                    <a:pt x="87" y="133"/>
                  </a:cubicBezTo>
                  <a:cubicBezTo>
                    <a:pt x="87" y="180"/>
                    <a:pt x="87" y="180"/>
                    <a:pt x="87" y="180"/>
                  </a:cubicBezTo>
                  <a:cubicBezTo>
                    <a:pt x="87" y="184"/>
                    <a:pt x="84" y="186"/>
                    <a:pt x="81" y="186"/>
                  </a:cubicBezTo>
                  <a:cubicBezTo>
                    <a:pt x="77" y="186"/>
                    <a:pt x="74" y="184"/>
                    <a:pt x="74" y="180"/>
                  </a:cubicBezTo>
                  <a:cubicBezTo>
                    <a:pt x="74" y="133"/>
                    <a:pt x="74" y="133"/>
                    <a:pt x="74" y="133"/>
                  </a:cubicBezTo>
                  <a:cubicBezTo>
                    <a:pt x="26" y="133"/>
                    <a:pt x="26" y="133"/>
                    <a:pt x="26" y="133"/>
                  </a:cubicBezTo>
                  <a:cubicBezTo>
                    <a:pt x="23" y="133"/>
                    <a:pt x="20" y="131"/>
                    <a:pt x="18" y="129"/>
                  </a:cubicBezTo>
                  <a:cubicBezTo>
                    <a:pt x="17" y="126"/>
                    <a:pt x="17" y="123"/>
                    <a:pt x="18" y="120"/>
                  </a:cubicBezTo>
                  <a:cubicBezTo>
                    <a:pt x="74" y="24"/>
                    <a:pt x="74" y="24"/>
                    <a:pt x="74" y="24"/>
                  </a:cubicBezTo>
                  <a:cubicBezTo>
                    <a:pt x="75" y="21"/>
                    <a:pt x="78" y="19"/>
                    <a:pt x="81" y="19"/>
                  </a:cubicBezTo>
                  <a:cubicBezTo>
                    <a:pt x="84" y="19"/>
                    <a:pt x="87" y="21"/>
                    <a:pt x="89" y="24"/>
                  </a:cubicBezTo>
                  <a:cubicBezTo>
                    <a:pt x="145" y="120"/>
                    <a:pt x="145" y="120"/>
                    <a:pt x="145" y="120"/>
                  </a:cubicBezTo>
                  <a:cubicBezTo>
                    <a:pt x="146" y="123"/>
                    <a:pt x="146" y="126"/>
                    <a:pt x="145" y="129"/>
                  </a:cubicBezTo>
                  <a:moveTo>
                    <a:pt x="131" y="121"/>
                  </a:moveTo>
                  <a:cubicBezTo>
                    <a:pt x="81" y="35"/>
                    <a:pt x="81" y="35"/>
                    <a:pt x="81" y="35"/>
                  </a:cubicBezTo>
                  <a:cubicBezTo>
                    <a:pt x="32" y="121"/>
                    <a:pt x="32" y="121"/>
                    <a:pt x="32" y="121"/>
                  </a:cubicBezTo>
                  <a:lnTo>
                    <a:pt x="131" y="121"/>
                  </a:lnTo>
                  <a:close/>
                  <a:moveTo>
                    <a:pt x="24" y="92"/>
                  </a:moveTo>
                  <a:cubicBezTo>
                    <a:pt x="24" y="89"/>
                    <a:pt x="22" y="87"/>
                    <a:pt x="20" y="87"/>
                  </a:cubicBezTo>
                  <a:cubicBezTo>
                    <a:pt x="12" y="87"/>
                    <a:pt x="12" y="87"/>
                    <a:pt x="12" y="87"/>
                  </a:cubicBezTo>
                  <a:cubicBezTo>
                    <a:pt x="10" y="87"/>
                    <a:pt x="8" y="86"/>
                    <a:pt x="8" y="84"/>
                  </a:cubicBezTo>
                  <a:cubicBezTo>
                    <a:pt x="8" y="42"/>
                    <a:pt x="8" y="42"/>
                    <a:pt x="8" y="42"/>
                  </a:cubicBezTo>
                  <a:cubicBezTo>
                    <a:pt x="8" y="40"/>
                    <a:pt x="10" y="38"/>
                    <a:pt x="12" y="38"/>
                  </a:cubicBezTo>
                  <a:cubicBezTo>
                    <a:pt x="54" y="38"/>
                    <a:pt x="54" y="38"/>
                    <a:pt x="54" y="38"/>
                  </a:cubicBezTo>
                  <a:cubicBezTo>
                    <a:pt x="57" y="38"/>
                    <a:pt x="59" y="36"/>
                    <a:pt x="59" y="34"/>
                  </a:cubicBezTo>
                  <a:cubicBezTo>
                    <a:pt x="59" y="32"/>
                    <a:pt x="57" y="30"/>
                    <a:pt x="54" y="30"/>
                  </a:cubicBezTo>
                  <a:cubicBezTo>
                    <a:pt x="12" y="30"/>
                    <a:pt x="12" y="30"/>
                    <a:pt x="12" y="30"/>
                  </a:cubicBezTo>
                  <a:cubicBezTo>
                    <a:pt x="5" y="30"/>
                    <a:pt x="0" y="35"/>
                    <a:pt x="0" y="42"/>
                  </a:cubicBezTo>
                  <a:cubicBezTo>
                    <a:pt x="0" y="84"/>
                    <a:pt x="0" y="84"/>
                    <a:pt x="0" y="84"/>
                  </a:cubicBezTo>
                  <a:cubicBezTo>
                    <a:pt x="0" y="91"/>
                    <a:pt x="5" y="96"/>
                    <a:pt x="12" y="96"/>
                  </a:cubicBezTo>
                  <a:cubicBezTo>
                    <a:pt x="20" y="96"/>
                    <a:pt x="20" y="96"/>
                    <a:pt x="20" y="96"/>
                  </a:cubicBezTo>
                  <a:cubicBezTo>
                    <a:pt x="22" y="96"/>
                    <a:pt x="24" y="94"/>
                    <a:pt x="24" y="92"/>
                  </a:cubicBezTo>
                  <a:moveTo>
                    <a:pt x="138" y="45"/>
                  </a:moveTo>
                  <a:cubicBezTo>
                    <a:pt x="138" y="9"/>
                    <a:pt x="138" y="9"/>
                    <a:pt x="138" y="9"/>
                  </a:cubicBezTo>
                  <a:cubicBezTo>
                    <a:pt x="138" y="4"/>
                    <a:pt x="134" y="0"/>
                    <a:pt x="129" y="0"/>
                  </a:cubicBezTo>
                  <a:cubicBezTo>
                    <a:pt x="75" y="0"/>
                    <a:pt x="75" y="0"/>
                    <a:pt x="75" y="0"/>
                  </a:cubicBezTo>
                  <a:cubicBezTo>
                    <a:pt x="69" y="0"/>
                    <a:pt x="65" y="4"/>
                    <a:pt x="65" y="9"/>
                  </a:cubicBezTo>
                  <a:cubicBezTo>
                    <a:pt x="65" y="18"/>
                    <a:pt x="65" y="18"/>
                    <a:pt x="65" y="18"/>
                  </a:cubicBezTo>
                  <a:cubicBezTo>
                    <a:pt x="65" y="20"/>
                    <a:pt x="66" y="21"/>
                    <a:pt x="67" y="21"/>
                  </a:cubicBezTo>
                  <a:cubicBezTo>
                    <a:pt x="69" y="21"/>
                    <a:pt x="70" y="20"/>
                    <a:pt x="70" y="18"/>
                  </a:cubicBezTo>
                  <a:cubicBezTo>
                    <a:pt x="70" y="9"/>
                    <a:pt x="70" y="9"/>
                    <a:pt x="70" y="9"/>
                  </a:cubicBezTo>
                  <a:cubicBezTo>
                    <a:pt x="70" y="7"/>
                    <a:pt x="72" y="6"/>
                    <a:pt x="75" y="6"/>
                  </a:cubicBezTo>
                  <a:cubicBezTo>
                    <a:pt x="129" y="6"/>
                    <a:pt x="129" y="6"/>
                    <a:pt x="129" y="6"/>
                  </a:cubicBezTo>
                  <a:cubicBezTo>
                    <a:pt x="131" y="6"/>
                    <a:pt x="133" y="7"/>
                    <a:pt x="133" y="9"/>
                  </a:cubicBezTo>
                  <a:cubicBezTo>
                    <a:pt x="133" y="45"/>
                    <a:pt x="133" y="45"/>
                    <a:pt x="133" y="45"/>
                  </a:cubicBezTo>
                  <a:cubicBezTo>
                    <a:pt x="133" y="47"/>
                    <a:pt x="131" y="49"/>
                    <a:pt x="129" y="49"/>
                  </a:cubicBezTo>
                  <a:cubicBezTo>
                    <a:pt x="115" y="49"/>
                    <a:pt x="115" y="49"/>
                    <a:pt x="115" y="49"/>
                  </a:cubicBezTo>
                  <a:cubicBezTo>
                    <a:pt x="113" y="49"/>
                    <a:pt x="112" y="50"/>
                    <a:pt x="112" y="51"/>
                  </a:cubicBezTo>
                  <a:cubicBezTo>
                    <a:pt x="112" y="53"/>
                    <a:pt x="113" y="54"/>
                    <a:pt x="115" y="54"/>
                  </a:cubicBezTo>
                  <a:cubicBezTo>
                    <a:pt x="129" y="54"/>
                    <a:pt x="129" y="54"/>
                    <a:pt x="129" y="54"/>
                  </a:cubicBezTo>
                  <a:cubicBezTo>
                    <a:pt x="134" y="54"/>
                    <a:pt x="138" y="50"/>
                    <a:pt x="138" y="4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grpSp>
      <p:sp>
        <p:nvSpPr>
          <p:cNvPr id="36" name="Oval 35">
            <a:extLst>
              <a:ext uri="{FF2B5EF4-FFF2-40B4-BE49-F238E27FC236}">
                <a16:creationId xmlns:a16="http://schemas.microsoft.com/office/drawing/2014/main" id="{6E5BCF27-78DC-4E30-8B6C-568A0E90D35D}"/>
              </a:ext>
            </a:extLst>
          </p:cNvPr>
          <p:cNvSpPr/>
          <p:nvPr/>
        </p:nvSpPr>
        <p:spPr>
          <a:xfrm>
            <a:off x="580508" y="5036588"/>
            <a:ext cx="636395" cy="662497"/>
          </a:xfrm>
          <a:prstGeom prst="ellipse">
            <a:avLst/>
          </a:prstGeom>
          <a:solidFill>
            <a:schemeClr val="accent4">
              <a:lumMod val="20000"/>
              <a:lumOff val="80000"/>
            </a:schemeClr>
          </a:solidFill>
          <a:ln>
            <a:solidFill>
              <a:schemeClr val="accent1"/>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panose="020B0604020202020204" pitchFamily="34" charset="0"/>
              <a:cs typeface="Arial" panose="020B0604020202020204" pitchFamily="34" charset="0"/>
              <a:sym typeface="Arial" panose="020B0604020202020204" pitchFamily="34" charset="0"/>
            </a:endParaRPr>
          </a:p>
        </p:txBody>
      </p:sp>
      <p:grpSp>
        <p:nvGrpSpPr>
          <p:cNvPr id="49" name="Group 48">
            <a:extLst>
              <a:ext uri="{FF2B5EF4-FFF2-40B4-BE49-F238E27FC236}">
                <a16:creationId xmlns:a16="http://schemas.microsoft.com/office/drawing/2014/main" id="{772728FC-8B97-41AF-851F-8198F2BBCC6D}"/>
              </a:ext>
            </a:extLst>
          </p:cNvPr>
          <p:cNvGrpSpPr/>
          <p:nvPr/>
        </p:nvGrpSpPr>
        <p:grpSpPr>
          <a:xfrm>
            <a:off x="683776" y="5148370"/>
            <a:ext cx="491408" cy="438931"/>
            <a:chOff x="1858482" y="1268415"/>
            <a:chExt cx="619125" cy="619126"/>
          </a:xfrm>
        </p:grpSpPr>
        <p:sp>
          <p:nvSpPr>
            <p:cNvPr id="50" name="Freeform 62">
              <a:extLst>
                <a:ext uri="{FF2B5EF4-FFF2-40B4-BE49-F238E27FC236}">
                  <a16:creationId xmlns:a16="http://schemas.microsoft.com/office/drawing/2014/main" id="{D9A04222-3291-42A0-AC3A-F3402B2F21FC}"/>
                </a:ext>
              </a:extLst>
            </p:cNvPr>
            <p:cNvSpPr>
              <a:spLocks/>
            </p:cNvSpPr>
            <p:nvPr/>
          </p:nvSpPr>
          <p:spPr bwMode="auto">
            <a:xfrm>
              <a:off x="2026757" y="1470028"/>
              <a:ext cx="165100" cy="263525"/>
            </a:xfrm>
            <a:custGeom>
              <a:avLst/>
              <a:gdLst>
                <a:gd name="T0" fmla="*/ 23 w 57"/>
                <a:gd name="T1" fmla="*/ 81 h 91"/>
                <a:gd name="T2" fmla="*/ 0 w 57"/>
                <a:gd name="T3" fmla="*/ 76 h 91"/>
                <a:gd name="T4" fmla="*/ 0 w 57"/>
                <a:gd name="T5" fmla="*/ 58 h 91"/>
                <a:gd name="T6" fmla="*/ 14 w 57"/>
                <a:gd name="T7" fmla="*/ 63 h 91"/>
                <a:gd name="T8" fmla="*/ 27 w 57"/>
                <a:gd name="T9" fmla="*/ 65 h 91"/>
                <a:gd name="T10" fmla="*/ 34 w 57"/>
                <a:gd name="T11" fmla="*/ 64 h 91"/>
                <a:gd name="T12" fmla="*/ 36 w 57"/>
                <a:gd name="T13" fmla="*/ 60 h 91"/>
                <a:gd name="T14" fmla="*/ 34 w 57"/>
                <a:gd name="T15" fmla="*/ 57 h 91"/>
                <a:gd name="T16" fmla="*/ 29 w 57"/>
                <a:gd name="T17" fmla="*/ 54 h 91"/>
                <a:gd name="T18" fmla="*/ 20 w 57"/>
                <a:gd name="T19" fmla="*/ 51 h 91"/>
                <a:gd name="T20" fmla="*/ 8 w 57"/>
                <a:gd name="T21" fmla="*/ 45 h 91"/>
                <a:gd name="T22" fmla="*/ 2 w 57"/>
                <a:gd name="T23" fmla="*/ 38 h 91"/>
                <a:gd name="T24" fmla="*/ 0 w 57"/>
                <a:gd name="T25" fmla="*/ 28 h 91"/>
                <a:gd name="T26" fmla="*/ 6 w 57"/>
                <a:gd name="T27" fmla="*/ 14 h 91"/>
                <a:gd name="T28" fmla="*/ 23 w 57"/>
                <a:gd name="T29" fmla="*/ 8 h 91"/>
                <a:gd name="T30" fmla="*/ 23 w 57"/>
                <a:gd name="T31" fmla="*/ 0 h 91"/>
                <a:gd name="T32" fmla="*/ 35 w 57"/>
                <a:gd name="T33" fmla="*/ 0 h 91"/>
                <a:gd name="T34" fmla="*/ 35 w 57"/>
                <a:gd name="T35" fmla="*/ 8 h 91"/>
                <a:gd name="T36" fmla="*/ 56 w 57"/>
                <a:gd name="T37" fmla="*/ 13 h 91"/>
                <a:gd name="T38" fmla="*/ 50 w 57"/>
                <a:gd name="T39" fmla="*/ 28 h 91"/>
                <a:gd name="T40" fmla="*/ 29 w 57"/>
                <a:gd name="T41" fmla="*/ 23 h 91"/>
                <a:gd name="T42" fmla="*/ 23 w 57"/>
                <a:gd name="T43" fmla="*/ 24 h 91"/>
                <a:gd name="T44" fmla="*/ 22 w 57"/>
                <a:gd name="T45" fmla="*/ 28 h 91"/>
                <a:gd name="T46" fmla="*/ 23 w 57"/>
                <a:gd name="T47" fmla="*/ 30 h 91"/>
                <a:gd name="T48" fmla="*/ 27 w 57"/>
                <a:gd name="T49" fmla="*/ 33 h 91"/>
                <a:gd name="T50" fmla="*/ 36 w 57"/>
                <a:gd name="T51" fmla="*/ 36 h 91"/>
                <a:gd name="T52" fmla="*/ 52 w 57"/>
                <a:gd name="T53" fmla="*/ 46 h 91"/>
                <a:gd name="T54" fmla="*/ 57 w 57"/>
                <a:gd name="T55" fmla="*/ 59 h 91"/>
                <a:gd name="T56" fmla="*/ 52 w 57"/>
                <a:gd name="T57" fmla="*/ 74 h 91"/>
                <a:gd name="T58" fmla="*/ 35 w 57"/>
                <a:gd name="T59" fmla="*/ 81 h 91"/>
                <a:gd name="T60" fmla="*/ 35 w 57"/>
                <a:gd name="T61" fmla="*/ 91 h 91"/>
                <a:gd name="T62" fmla="*/ 24 w 57"/>
                <a:gd name="T63" fmla="*/ 91 h 91"/>
                <a:gd name="T64" fmla="*/ 24 w 57"/>
                <a:gd name="T65" fmla="*/ 81 h 91"/>
                <a:gd name="T66" fmla="*/ 23 w 57"/>
                <a:gd name="T67" fmla="*/ 8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 h="91">
                  <a:moveTo>
                    <a:pt x="23" y="81"/>
                  </a:moveTo>
                  <a:cubicBezTo>
                    <a:pt x="16" y="81"/>
                    <a:pt x="8" y="79"/>
                    <a:pt x="0" y="76"/>
                  </a:cubicBezTo>
                  <a:cubicBezTo>
                    <a:pt x="0" y="58"/>
                    <a:pt x="0" y="58"/>
                    <a:pt x="0" y="58"/>
                  </a:cubicBezTo>
                  <a:cubicBezTo>
                    <a:pt x="5" y="60"/>
                    <a:pt x="9" y="62"/>
                    <a:pt x="14" y="63"/>
                  </a:cubicBezTo>
                  <a:cubicBezTo>
                    <a:pt x="19" y="64"/>
                    <a:pt x="23" y="65"/>
                    <a:pt x="27" y="65"/>
                  </a:cubicBezTo>
                  <a:cubicBezTo>
                    <a:pt x="30" y="65"/>
                    <a:pt x="32" y="65"/>
                    <a:pt x="34" y="64"/>
                  </a:cubicBezTo>
                  <a:cubicBezTo>
                    <a:pt x="35" y="63"/>
                    <a:pt x="36" y="62"/>
                    <a:pt x="36" y="60"/>
                  </a:cubicBezTo>
                  <a:cubicBezTo>
                    <a:pt x="36" y="59"/>
                    <a:pt x="36" y="58"/>
                    <a:pt x="34" y="57"/>
                  </a:cubicBezTo>
                  <a:cubicBezTo>
                    <a:pt x="33" y="56"/>
                    <a:pt x="32" y="56"/>
                    <a:pt x="29" y="54"/>
                  </a:cubicBezTo>
                  <a:cubicBezTo>
                    <a:pt x="27" y="53"/>
                    <a:pt x="24" y="52"/>
                    <a:pt x="20" y="51"/>
                  </a:cubicBezTo>
                  <a:cubicBezTo>
                    <a:pt x="15" y="49"/>
                    <a:pt x="11" y="47"/>
                    <a:pt x="8" y="45"/>
                  </a:cubicBezTo>
                  <a:cubicBezTo>
                    <a:pt x="6" y="43"/>
                    <a:pt x="4" y="40"/>
                    <a:pt x="2" y="38"/>
                  </a:cubicBezTo>
                  <a:cubicBezTo>
                    <a:pt x="1" y="35"/>
                    <a:pt x="0" y="32"/>
                    <a:pt x="0" y="28"/>
                  </a:cubicBezTo>
                  <a:cubicBezTo>
                    <a:pt x="0" y="22"/>
                    <a:pt x="2" y="17"/>
                    <a:pt x="6" y="14"/>
                  </a:cubicBezTo>
                  <a:cubicBezTo>
                    <a:pt x="10" y="11"/>
                    <a:pt x="16" y="9"/>
                    <a:pt x="23" y="8"/>
                  </a:cubicBezTo>
                  <a:cubicBezTo>
                    <a:pt x="23" y="0"/>
                    <a:pt x="23" y="0"/>
                    <a:pt x="23" y="0"/>
                  </a:cubicBezTo>
                  <a:cubicBezTo>
                    <a:pt x="35" y="0"/>
                    <a:pt x="35" y="0"/>
                    <a:pt x="35" y="0"/>
                  </a:cubicBezTo>
                  <a:cubicBezTo>
                    <a:pt x="35" y="8"/>
                    <a:pt x="35" y="8"/>
                    <a:pt x="35" y="8"/>
                  </a:cubicBezTo>
                  <a:cubicBezTo>
                    <a:pt x="42" y="8"/>
                    <a:pt x="49" y="10"/>
                    <a:pt x="56" y="13"/>
                  </a:cubicBezTo>
                  <a:cubicBezTo>
                    <a:pt x="50" y="28"/>
                    <a:pt x="50" y="28"/>
                    <a:pt x="50" y="28"/>
                  </a:cubicBezTo>
                  <a:cubicBezTo>
                    <a:pt x="42" y="25"/>
                    <a:pt x="36" y="23"/>
                    <a:pt x="29" y="23"/>
                  </a:cubicBezTo>
                  <a:cubicBezTo>
                    <a:pt x="26" y="23"/>
                    <a:pt x="24" y="24"/>
                    <a:pt x="23" y="24"/>
                  </a:cubicBezTo>
                  <a:cubicBezTo>
                    <a:pt x="22" y="25"/>
                    <a:pt x="22" y="26"/>
                    <a:pt x="22" y="28"/>
                  </a:cubicBezTo>
                  <a:cubicBezTo>
                    <a:pt x="22" y="29"/>
                    <a:pt x="22" y="30"/>
                    <a:pt x="23" y="30"/>
                  </a:cubicBezTo>
                  <a:cubicBezTo>
                    <a:pt x="24" y="31"/>
                    <a:pt x="25" y="32"/>
                    <a:pt x="27" y="33"/>
                  </a:cubicBezTo>
                  <a:cubicBezTo>
                    <a:pt x="29" y="34"/>
                    <a:pt x="32" y="35"/>
                    <a:pt x="36" y="36"/>
                  </a:cubicBezTo>
                  <a:cubicBezTo>
                    <a:pt x="44" y="39"/>
                    <a:pt x="49" y="42"/>
                    <a:pt x="52" y="46"/>
                  </a:cubicBezTo>
                  <a:cubicBezTo>
                    <a:pt x="56" y="49"/>
                    <a:pt x="57" y="54"/>
                    <a:pt x="57" y="59"/>
                  </a:cubicBezTo>
                  <a:cubicBezTo>
                    <a:pt x="57" y="65"/>
                    <a:pt x="55" y="70"/>
                    <a:pt x="52" y="74"/>
                  </a:cubicBezTo>
                  <a:cubicBezTo>
                    <a:pt x="48" y="77"/>
                    <a:pt x="42" y="80"/>
                    <a:pt x="35" y="81"/>
                  </a:cubicBezTo>
                  <a:cubicBezTo>
                    <a:pt x="35" y="91"/>
                    <a:pt x="35" y="91"/>
                    <a:pt x="35" y="91"/>
                  </a:cubicBezTo>
                  <a:cubicBezTo>
                    <a:pt x="24" y="91"/>
                    <a:pt x="24" y="91"/>
                    <a:pt x="24" y="91"/>
                  </a:cubicBezTo>
                  <a:cubicBezTo>
                    <a:pt x="24" y="81"/>
                    <a:pt x="24" y="81"/>
                    <a:pt x="24" y="81"/>
                  </a:cubicBezTo>
                  <a:lnTo>
                    <a:pt x="23" y="8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51" name="Freeform 63">
              <a:extLst>
                <a:ext uri="{FF2B5EF4-FFF2-40B4-BE49-F238E27FC236}">
                  <a16:creationId xmlns:a16="http://schemas.microsoft.com/office/drawing/2014/main" id="{14A4D222-FD03-4866-AED4-B00F1DE5278B}"/>
                </a:ext>
              </a:extLst>
            </p:cNvPr>
            <p:cNvSpPr>
              <a:spLocks/>
            </p:cNvSpPr>
            <p:nvPr/>
          </p:nvSpPr>
          <p:spPr bwMode="auto">
            <a:xfrm>
              <a:off x="1858482" y="1268415"/>
              <a:ext cx="619125" cy="619126"/>
            </a:xfrm>
            <a:custGeom>
              <a:avLst/>
              <a:gdLst>
                <a:gd name="T0" fmla="*/ 390 w 390"/>
                <a:gd name="T1" fmla="*/ 390 h 390"/>
                <a:gd name="T2" fmla="*/ 0 w 390"/>
                <a:gd name="T3" fmla="*/ 390 h 390"/>
                <a:gd name="T4" fmla="*/ 0 w 390"/>
                <a:gd name="T5" fmla="*/ 0 h 390"/>
                <a:gd name="T6" fmla="*/ 19 w 390"/>
                <a:gd name="T7" fmla="*/ 0 h 390"/>
                <a:gd name="T8" fmla="*/ 19 w 390"/>
                <a:gd name="T9" fmla="*/ 372 h 390"/>
                <a:gd name="T10" fmla="*/ 390 w 390"/>
                <a:gd name="T11" fmla="*/ 372 h 390"/>
                <a:gd name="T12" fmla="*/ 390 w 390"/>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390" h="390">
                  <a:moveTo>
                    <a:pt x="390" y="390"/>
                  </a:moveTo>
                  <a:lnTo>
                    <a:pt x="0" y="390"/>
                  </a:lnTo>
                  <a:lnTo>
                    <a:pt x="0" y="0"/>
                  </a:lnTo>
                  <a:lnTo>
                    <a:pt x="19" y="0"/>
                  </a:lnTo>
                  <a:lnTo>
                    <a:pt x="19" y="372"/>
                  </a:lnTo>
                  <a:lnTo>
                    <a:pt x="390" y="372"/>
                  </a:lnTo>
                  <a:lnTo>
                    <a:pt x="39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52" name="Freeform 64">
              <a:extLst>
                <a:ext uri="{FF2B5EF4-FFF2-40B4-BE49-F238E27FC236}">
                  <a16:creationId xmlns:a16="http://schemas.microsoft.com/office/drawing/2014/main" id="{B08534F8-7C90-46F7-916A-C48BB7D36D6B}"/>
                </a:ext>
              </a:extLst>
            </p:cNvPr>
            <p:cNvSpPr>
              <a:spLocks/>
            </p:cNvSpPr>
            <p:nvPr/>
          </p:nvSpPr>
          <p:spPr bwMode="auto">
            <a:xfrm>
              <a:off x="1934682" y="1301753"/>
              <a:ext cx="495300" cy="509588"/>
            </a:xfrm>
            <a:custGeom>
              <a:avLst/>
              <a:gdLst>
                <a:gd name="T0" fmla="*/ 169 w 171"/>
                <a:gd name="T1" fmla="*/ 154 h 176"/>
                <a:gd name="T2" fmla="*/ 165 w 171"/>
                <a:gd name="T3" fmla="*/ 154 h 176"/>
                <a:gd name="T4" fmla="*/ 0 w 171"/>
                <a:gd name="T5" fmla="*/ 0 h 176"/>
                <a:gd name="T6" fmla="*/ 0 w 171"/>
                <a:gd name="T7" fmla="*/ 10 h 176"/>
                <a:gd name="T8" fmla="*/ 155 w 171"/>
                <a:gd name="T9" fmla="*/ 154 h 176"/>
                <a:gd name="T10" fmla="*/ 152 w 171"/>
                <a:gd name="T11" fmla="*/ 154 h 176"/>
                <a:gd name="T12" fmla="*/ 150 w 171"/>
                <a:gd name="T13" fmla="*/ 157 h 176"/>
                <a:gd name="T14" fmla="*/ 159 w 171"/>
                <a:gd name="T15" fmla="*/ 175 h 176"/>
                <a:gd name="T16" fmla="*/ 162 w 171"/>
                <a:gd name="T17" fmla="*/ 175 h 176"/>
                <a:gd name="T18" fmla="*/ 171 w 171"/>
                <a:gd name="T19" fmla="*/ 157 h 176"/>
                <a:gd name="T20" fmla="*/ 169 w 171"/>
                <a:gd name="T21" fmla="*/ 15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176">
                  <a:moveTo>
                    <a:pt x="169" y="154"/>
                  </a:moveTo>
                  <a:cubicBezTo>
                    <a:pt x="165" y="154"/>
                    <a:pt x="165" y="154"/>
                    <a:pt x="165" y="154"/>
                  </a:cubicBezTo>
                  <a:cubicBezTo>
                    <a:pt x="160" y="68"/>
                    <a:pt x="88" y="0"/>
                    <a:pt x="0" y="0"/>
                  </a:cubicBezTo>
                  <a:cubicBezTo>
                    <a:pt x="0" y="10"/>
                    <a:pt x="0" y="10"/>
                    <a:pt x="0" y="10"/>
                  </a:cubicBezTo>
                  <a:cubicBezTo>
                    <a:pt x="82" y="10"/>
                    <a:pt x="149" y="74"/>
                    <a:pt x="155" y="154"/>
                  </a:cubicBezTo>
                  <a:cubicBezTo>
                    <a:pt x="152" y="154"/>
                    <a:pt x="152" y="154"/>
                    <a:pt x="152" y="154"/>
                  </a:cubicBezTo>
                  <a:cubicBezTo>
                    <a:pt x="150" y="154"/>
                    <a:pt x="149" y="156"/>
                    <a:pt x="150" y="157"/>
                  </a:cubicBezTo>
                  <a:cubicBezTo>
                    <a:pt x="159" y="175"/>
                    <a:pt x="159" y="175"/>
                    <a:pt x="159" y="175"/>
                  </a:cubicBezTo>
                  <a:cubicBezTo>
                    <a:pt x="159" y="176"/>
                    <a:pt x="161" y="176"/>
                    <a:pt x="162" y="175"/>
                  </a:cubicBezTo>
                  <a:cubicBezTo>
                    <a:pt x="171" y="157"/>
                    <a:pt x="171" y="157"/>
                    <a:pt x="171" y="157"/>
                  </a:cubicBezTo>
                  <a:cubicBezTo>
                    <a:pt x="171" y="156"/>
                    <a:pt x="170" y="154"/>
                    <a:pt x="169" y="15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22486069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2A945-E229-47E2-BC86-6752E4AEADE8}"/>
              </a:ext>
            </a:extLst>
          </p:cNvPr>
          <p:cNvSpPr>
            <a:spLocks noGrp="1"/>
          </p:cNvSpPr>
          <p:nvPr>
            <p:ph type="title"/>
          </p:nvPr>
        </p:nvSpPr>
        <p:spPr/>
        <p:txBody>
          <a:bodyPr/>
          <a:lstStyle/>
          <a:p>
            <a:pPr lvl="0" defTabSz="914400">
              <a:lnSpc>
                <a:spcPct val="100000"/>
              </a:lnSpc>
              <a:spcBef>
                <a:spcPts val="0"/>
              </a:spcBef>
            </a:pPr>
            <a:r>
              <a:rPr lang="en-US" dirty="0"/>
              <a:t>What is Cloud Native?</a:t>
            </a:r>
            <a:br>
              <a:rPr lang="en-US" dirty="0"/>
            </a:br>
            <a:r>
              <a:rPr lang="en-US" sz="1800" b="0" i="1" dirty="0">
                <a:solidFill>
                  <a:srgbClr val="3F3F3F"/>
                </a:solidFill>
                <a:ea typeface="+mn-ea"/>
                <a:cs typeface="+mn-cs"/>
              </a:rPr>
              <a:t>With so many definitions out there, it is difficult to align on a definition and scope</a:t>
            </a:r>
            <a:br>
              <a:rPr lang="en-US" sz="1600" dirty="0"/>
            </a:br>
            <a:endParaRPr lang="en-US" sz="1600" dirty="0"/>
          </a:p>
        </p:txBody>
      </p:sp>
      <p:sp>
        <p:nvSpPr>
          <p:cNvPr id="3" name="Content Placeholder 2">
            <a:extLst>
              <a:ext uri="{FF2B5EF4-FFF2-40B4-BE49-F238E27FC236}">
                <a16:creationId xmlns:a16="http://schemas.microsoft.com/office/drawing/2014/main" id="{917169DB-B556-4406-9CE3-73B84E7E230A}"/>
              </a:ext>
            </a:extLst>
          </p:cNvPr>
          <p:cNvSpPr>
            <a:spLocks noGrp="1"/>
          </p:cNvSpPr>
          <p:nvPr>
            <p:ph idx="1"/>
          </p:nvPr>
        </p:nvSpPr>
        <p:spPr>
          <a:xfrm>
            <a:off x="557929" y="1374274"/>
            <a:ext cx="11247628" cy="5420412"/>
          </a:xfrm>
        </p:spPr>
        <p:txBody>
          <a:bodyPr/>
          <a:lstStyle/>
          <a:p>
            <a:r>
              <a:rPr lang="en-US" dirty="0">
                <a:solidFill>
                  <a:srgbClr val="FF0000"/>
                </a:solidFill>
              </a:rPr>
              <a:t>Cloud Native from an Applications perspective</a:t>
            </a:r>
            <a:r>
              <a:rPr lang="en-US" dirty="0">
                <a:solidFill>
                  <a:schemeClr val="accent2"/>
                </a:solidFill>
              </a:rPr>
              <a:t>:</a:t>
            </a:r>
          </a:p>
          <a:p>
            <a:r>
              <a:rPr lang="en-US" dirty="0" err="1">
                <a:solidFill>
                  <a:schemeClr val="accent3"/>
                </a:solidFill>
              </a:rPr>
              <a:t>Redhat</a:t>
            </a:r>
            <a:r>
              <a:rPr lang="en-US" dirty="0">
                <a:solidFill>
                  <a:schemeClr val="accent3"/>
                </a:solidFill>
              </a:rPr>
              <a:t>:</a:t>
            </a:r>
            <a:r>
              <a:rPr lang="en-US" dirty="0"/>
              <a:t> </a:t>
            </a:r>
            <a:r>
              <a:rPr lang="en-US" i="1" dirty="0"/>
              <a:t>“If an app is "cloud-native," it’s specifically designed to provide a consistent development and automated management experience across private, public, and hybrid clouds.”</a:t>
            </a:r>
          </a:p>
          <a:p>
            <a:r>
              <a:rPr lang="en-US" dirty="0">
                <a:solidFill>
                  <a:schemeClr val="accent3"/>
                </a:solidFill>
              </a:rPr>
              <a:t>IBM:</a:t>
            </a:r>
            <a:r>
              <a:rPr lang="en-US" dirty="0"/>
              <a:t> </a:t>
            </a:r>
            <a:r>
              <a:rPr lang="en-US" i="1" dirty="0"/>
              <a:t>“A cloud native application consists of discrete, reusable components known as microservices that are designed to integrate into any cloud environment.”</a:t>
            </a:r>
          </a:p>
          <a:p>
            <a:endParaRPr lang="en-US" dirty="0">
              <a:solidFill>
                <a:srgbClr val="FF0000"/>
              </a:solidFill>
            </a:endParaRPr>
          </a:p>
          <a:p>
            <a:r>
              <a:rPr lang="en-US" dirty="0">
                <a:solidFill>
                  <a:srgbClr val="FF0000"/>
                </a:solidFill>
              </a:rPr>
              <a:t>Cloud Native from an Approach / Culture perspective</a:t>
            </a:r>
            <a:r>
              <a:rPr lang="en-US" dirty="0">
                <a:solidFill>
                  <a:schemeClr val="accent2"/>
                </a:solidFill>
              </a:rPr>
              <a:t>:</a:t>
            </a:r>
          </a:p>
          <a:p>
            <a:r>
              <a:rPr lang="en-US" dirty="0">
                <a:solidFill>
                  <a:schemeClr val="accent3"/>
                </a:solidFill>
              </a:rPr>
              <a:t>Cloudhealthtech.com</a:t>
            </a:r>
            <a:r>
              <a:rPr lang="en-US" dirty="0"/>
              <a:t>: </a:t>
            </a:r>
            <a:r>
              <a:rPr lang="en-US" i="1" dirty="0"/>
              <a:t>Cloud Native is an approach to building and running an application that exploits the advantages of the cloud delivery model. This doesn’t mean cloud native applications can’t be moved seamlessly between infrastructures, but generally, they’re architected to be platform-specific. </a:t>
            </a:r>
          </a:p>
          <a:p>
            <a:r>
              <a:rPr lang="en-US" i="1" dirty="0">
                <a:solidFill>
                  <a:schemeClr val="accent3"/>
                </a:solidFill>
              </a:rPr>
              <a:t>Cloud Native</a:t>
            </a:r>
            <a:r>
              <a:rPr lang="en-US" dirty="0">
                <a:solidFill>
                  <a:schemeClr val="accent3"/>
                </a:solidFill>
              </a:rPr>
              <a:t> </a:t>
            </a:r>
            <a:r>
              <a:rPr lang="en-US" i="1" dirty="0"/>
              <a:t>is structuring teams, culture, and technology to utilize automation and architectures to manage complexity and unlock velocity.</a:t>
            </a:r>
          </a:p>
          <a:p>
            <a:endParaRPr lang="en-US" dirty="0">
              <a:solidFill>
                <a:schemeClr val="accent2"/>
              </a:solidFill>
            </a:endParaRPr>
          </a:p>
          <a:p>
            <a:endParaRPr lang="en-US" dirty="0">
              <a:solidFill>
                <a:schemeClr val="accent2"/>
              </a:solidFill>
            </a:endParaRPr>
          </a:p>
        </p:txBody>
      </p:sp>
    </p:spTree>
    <p:extLst>
      <p:ext uri="{BB962C8B-B14F-4D97-AF65-F5344CB8AC3E}">
        <p14:creationId xmlns:p14="http://schemas.microsoft.com/office/powerpoint/2010/main" val="30911350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D2355-18CD-492B-9CF1-09E01E2B7F13}"/>
              </a:ext>
            </a:extLst>
          </p:cNvPr>
          <p:cNvSpPr>
            <a:spLocks noGrp="1"/>
          </p:cNvSpPr>
          <p:nvPr>
            <p:ph type="title"/>
          </p:nvPr>
        </p:nvSpPr>
        <p:spPr/>
        <p:txBody>
          <a:bodyPr/>
          <a:lstStyle/>
          <a:p>
            <a:r>
              <a:rPr lang="en-US" dirty="0"/>
              <a:t>What do we mean by a Cloud Native Culture?</a:t>
            </a:r>
            <a:endParaRPr lang="en-US" dirty="0">
              <a:solidFill>
                <a:schemeClr val="accent1"/>
              </a:solidFill>
            </a:endParaRPr>
          </a:p>
        </p:txBody>
      </p:sp>
      <p:sp>
        <p:nvSpPr>
          <p:cNvPr id="6" name="Rectangle 5">
            <a:extLst>
              <a:ext uri="{FF2B5EF4-FFF2-40B4-BE49-F238E27FC236}">
                <a16:creationId xmlns:a16="http://schemas.microsoft.com/office/drawing/2014/main" id="{765C8A17-4138-4FFC-BF9C-9534159DAF65}"/>
              </a:ext>
            </a:extLst>
          </p:cNvPr>
          <p:cNvSpPr/>
          <p:nvPr/>
        </p:nvSpPr>
        <p:spPr>
          <a:xfrm>
            <a:off x="448599" y="1090341"/>
            <a:ext cx="11299453" cy="1200329"/>
          </a:xfrm>
          <a:prstGeom prst="rect">
            <a:avLst/>
          </a:prstGeom>
        </p:spPr>
        <p:txBody>
          <a:bodyPr wrap="square">
            <a:spAutoFit/>
          </a:bodyPr>
          <a:lstStyle/>
          <a:p>
            <a:pPr lvl="0" defTabSz="457200">
              <a:spcBef>
                <a:spcPts val="1800"/>
              </a:spcBef>
              <a:buClr>
                <a:srgbClr val="000000"/>
              </a:buClr>
            </a:pPr>
            <a:r>
              <a:rPr lang="en-US" b="1" dirty="0">
                <a:solidFill>
                  <a:srgbClr val="CC0000"/>
                </a:solidFill>
              </a:rPr>
              <a:t>Our Definition:</a:t>
            </a:r>
            <a:r>
              <a:rPr lang="en-US" b="1" dirty="0">
                <a:solidFill>
                  <a:srgbClr val="3F3F3F"/>
                </a:solidFill>
              </a:rPr>
              <a:t> </a:t>
            </a:r>
            <a:r>
              <a:rPr lang="en-US" i="1" dirty="0">
                <a:solidFill>
                  <a:srgbClr val="3F3F3F"/>
                </a:solidFill>
              </a:rPr>
              <a:t>Cloud native is structuring teams, culture, and technology to utilize automation and architectures to manage complexity and unlock velocity. It is a </a:t>
            </a:r>
            <a:r>
              <a:rPr lang="en-US" b="1" i="1">
                <a:solidFill>
                  <a:srgbClr val="3F3F3F"/>
                </a:solidFill>
              </a:rPr>
              <a:t>self-service</a:t>
            </a:r>
            <a:r>
              <a:rPr lang="en-US" i="1">
                <a:solidFill>
                  <a:srgbClr val="3F3F3F"/>
                </a:solidFill>
              </a:rPr>
              <a:t> approach </a:t>
            </a:r>
            <a:r>
              <a:rPr lang="en-US" i="1" dirty="0">
                <a:solidFill>
                  <a:srgbClr val="3F3F3F"/>
                </a:solidFill>
              </a:rPr>
              <a:t>to building and running applications that exploits the advantages of the cloud delivery model</a:t>
            </a:r>
          </a:p>
          <a:p>
            <a:endParaRPr lang="en-US" i="1" dirty="0">
              <a:solidFill>
                <a:schemeClr val="tx2"/>
              </a:solidFill>
            </a:endParaRPr>
          </a:p>
        </p:txBody>
      </p:sp>
      <p:sp>
        <p:nvSpPr>
          <p:cNvPr id="10" name="Content Placeholder 9">
            <a:extLst>
              <a:ext uri="{FF2B5EF4-FFF2-40B4-BE49-F238E27FC236}">
                <a16:creationId xmlns:a16="http://schemas.microsoft.com/office/drawing/2014/main" id="{1F4BC1D6-3133-42C4-B4A1-97CB6F26487D}"/>
              </a:ext>
            </a:extLst>
          </p:cNvPr>
          <p:cNvSpPr>
            <a:spLocks noGrp="1"/>
          </p:cNvSpPr>
          <p:nvPr>
            <p:ph sz="half" idx="1"/>
          </p:nvPr>
        </p:nvSpPr>
        <p:spPr>
          <a:xfrm>
            <a:off x="566280" y="2205267"/>
            <a:ext cx="5238478" cy="3973512"/>
          </a:xfrm>
        </p:spPr>
        <p:txBody>
          <a:bodyPr/>
          <a:lstStyle/>
          <a:p>
            <a:r>
              <a:rPr lang="en-US" dirty="0">
                <a:solidFill>
                  <a:schemeClr val="accent2"/>
                </a:solidFill>
              </a:rPr>
              <a:t>Cloud Native needs to be defined from 3 perspectives: </a:t>
            </a:r>
          </a:p>
          <a:p>
            <a:pPr marL="285750" lvl="0" indent="-285750">
              <a:buFont typeface="Wingdings" panose="05000000000000000000" pitchFamily="2" charset="2"/>
              <a:buChar char="ü"/>
            </a:pPr>
            <a:r>
              <a:rPr lang="en-US" dirty="0"/>
              <a:t>Infrastructure and Technology: </a:t>
            </a:r>
            <a:r>
              <a:rPr lang="en-US" b="0" dirty="0"/>
              <a:t>Platforms that abstract complexities of the infrastructure.</a:t>
            </a:r>
          </a:p>
          <a:p>
            <a:pPr marL="285750" lvl="0" indent="-285750">
              <a:buFont typeface="Wingdings" panose="05000000000000000000" pitchFamily="2" charset="2"/>
              <a:buChar char="ü"/>
            </a:pPr>
            <a:r>
              <a:rPr lang="en-US" dirty="0"/>
              <a:t>Architecture and Design: </a:t>
            </a:r>
            <a:r>
              <a:rPr lang="en-US" b="0" dirty="0"/>
              <a:t>Solutions that make best use of the infrastructure abstractions</a:t>
            </a:r>
          </a:p>
          <a:p>
            <a:pPr marL="285750" lvl="0" indent="-285750">
              <a:buFont typeface="Wingdings" panose="05000000000000000000" pitchFamily="2" charset="2"/>
              <a:buChar char="ü"/>
            </a:pPr>
            <a:r>
              <a:rPr lang="en-US" dirty="0"/>
              <a:t>People and Process: </a:t>
            </a:r>
            <a:r>
              <a:rPr lang="en-US" b="0" dirty="0"/>
              <a:t>Automation of development, operations and business processes, and increasing autonomy of development teams</a:t>
            </a:r>
          </a:p>
          <a:p>
            <a:endParaRPr lang="en-US" dirty="0"/>
          </a:p>
        </p:txBody>
      </p:sp>
      <p:pic>
        <p:nvPicPr>
          <p:cNvPr id="12" name="Content Placeholder 4" descr="Chart, diagram&#10;&#10;Description automatically generated">
            <a:extLst>
              <a:ext uri="{FF2B5EF4-FFF2-40B4-BE49-F238E27FC236}">
                <a16:creationId xmlns:a16="http://schemas.microsoft.com/office/drawing/2014/main" id="{5E08B843-F0C8-494F-A07F-BBE91BF09C0A}"/>
              </a:ext>
            </a:extLst>
          </p:cNvPr>
          <p:cNvPicPr>
            <a:picLocks noChangeAspect="1"/>
          </p:cNvPicPr>
          <p:nvPr/>
        </p:nvPicPr>
        <p:blipFill>
          <a:blip r:embed="rId2"/>
          <a:stretch>
            <a:fillRect/>
          </a:stretch>
        </p:blipFill>
        <p:spPr bwMode="gray">
          <a:xfrm>
            <a:off x="6289964" y="2882302"/>
            <a:ext cx="5764212" cy="2773409"/>
          </a:xfrm>
          <a:prstGeom prst="rect">
            <a:avLst/>
          </a:prstGeom>
        </p:spPr>
      </p:pic>
    </p:spTree>
    <p:extLst>
      <p:ext uri="{BB962C8B-B14F-4D97-AF65-F5344CB8AC3E}">
        <p14:creationId xmlns:p14="http://schemas.microsoft.com/office/powerpoint/2010/main" val="1681002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5E35A01-4DEF-4203-9C98-D09A24AE31B1}"/>
              </a:ext>
            </a:extLst>
          </p:cNvPr>
          <p:cNvSpPr>
            <a:spLocks noGrp="1"/>
          </p:cNvSpPr>
          <p:nvPr>
            <p:ph type="title"/>
          </p:nvPr>
        </p:nvSpPr>
        <p:spPr>
          <a:xfrm>
            <a:off x="557929" y="530351"/>
            <a:ext cx="9667726" cy="713232"/>
          </a:xfrm>
        </p:spPr>
        <p:txBody>
          <a:bodyPr anchor="t">
            <a:normAutofit/>
          </a:bodyPr>
          <a:lstStyle/>
          <a:p>
            <a:r>
              <a:rPr lang="en-US" dirty="0"/>
              <a:t>Technology alone cannot attain business outcomes</a:t>
            </a:r>
            <a:br>
              <a:rPr lang="en-US" dirty="0"/>
            </a:br>
            <a:r>
              <a:rPr lang="en-US" sz="1800" b="0" i="1" dirty="0">
                <a:solidFill>
                  <a:schemeClr val="accent2"/>
                </a:solidFill>
              </a:rPr>
              <a:t>We need an alignment between IT Goals and Business Outcomes</a:t>
            </a:r>
            <a:endParaRPr lang="en-US" sz="1800" dirty="0">
              <a:solidFill>
                <a:schemeClr val="accent2"/>
              </a:solidFill>
            </a:endParaRPr>
          </a:p>
        </p:txBody>
      </p:sp>
      <p:pic>
        <p:nvPicPr>
          <p:cNvPr id="5" name="Content Placeholder 4" descr="Diagram, text&#10;&#10;Description automatically generated">
            <a:extLst>
              <a:ext uri="{FF2B5EF4-FFF2-40B4-BE49-F238E27FC236}">
                <a16:creationId xmlns:a16="http://schemas.microsoft.com/office/drawing/2014/main" id="{6043931B-C44C-453A-8591-A9261FACD4C4}"/>
              </a:ext>
            </a:extLst>
          </p:cNvPr>
          <p:cNvPicPr>
            <a:picLocks noGrp="1" noChangeAspect="1"/>
          </p:cNvPicPr>
          <p:nvPr>
            <p:ph idx="1"/>
          </p:nvPr>
        </p:nvPicPr>
        <p:blipFill>
          <a:blip r:embed="rId2"/>
          <a:stretch>
            <a:fillRect/>
          </a:stretch>
        </p:blipFill>
        <p:spPr>
          <a:xfrm>
            <a:off x="913899" y="1767532"/>
            <a:ext cx="9311756" cy="4702438"/>
          </a:xfrm>
          <a:noFill/>
        </p:spPr>
      </p:pic>
    </p:spTree>
    <p:extLst>
      <p:ext uri="{BB962C8B-B14F-4D97-AF65-F5344CB8AC3E}">
        <p14:creationId xmlns:p14="http://schemas.microsoft.com/office/powerpoint/2010/main" val="3716199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D2355-18CD-492B-9CF1-09E01E2B7F13}"/>
              </a:ext>
            </a:extLst>
          </p:cNvPr>
          <p:cNvSpPr>
            <a:spLocks noGrp="1"/>
          </p:cNvSpPr>
          <p:nvPr>
            <p:ph type="title"/>
          </p:nvPr>
        </p:nvSpPr>
        <p:spPr/>
        <p:txBody>
          <a:bodyPr/>
          <a:lstStyle/>
          <a:p>
            <a:r>
              <a:rPr lang="en-US" dirty="0"/>
              <a:t>Cloud Native: </a:t>
            </a:r>
            <a:r>
              <a:rPr lang="en-US" dirty="0">
                <a:solidFill>
                  <a:schemeClr val="accent1"/>
                </a:solidFill>
              </a:rPr>
              <a:t>Infrastructure</a:t>
            </a:r>
          </a:p>
        </p:txBody>
      </p:sp>
      <p:sp>
        <p:nvSpPr>
          <p:cNvPr id="3" name="Content Placeholder 2">
            <a:extLst>
              <a:ext uri="{FF2B5EF4-FFF2-40B4-BE49-F238E27FC236}">
                <a16:creationId xmlns:a16="http://schemas.microsoft.com/office/drawing/2014/main" id="{EE1E7389-1C96-40E8-87FF-38937D89B34F}"/>
              </a:ext>
            </a:extLst>
          </p:cNvPr>
          <p:cNvSpPr>
            <a:spLocks noGrp="1"/>
          </p:cNvSpPr>
          <p:nvPr>
            <p:ph sz="half" idx="1"/>
          </p:nvPr>
        </p:nvSpPr>
        <p:spPr>
          <a:xfrm>
            <a:off x="557927" y="2129850"/>
            <a:ext cx="5763359" cy="4673026"/>
          </a:xfrm>
        </p:spPr>
        <p:txBody>
          <a:bodyPr/>
          <a:lstStyle/>
          <a:p>
            <a:pPr marL="285750" indent="-285750">
              <a:buFont typeface="Wingdings" panose="05000000000000000000" pitchFamily="2" charset="2"/>
              <a:buChar char="ü"/>
            </a:pPr>
            <a:r>
              <a:rPr lang="en-US" b="0" dirty="0">
                <a:solidFill>
                  <a:schemeClr val="accent2"/>
                </a:solidFill>
              </a:rPr>
              <a:t>Self-provisioning</a:t>
            </a:r>
            <a:r>
              <a:rPr lang="en-US" b="0" dirty="0"/>
              <a:t>: Requisition of new virtual resources (servers, storage, networking) instantly</a:t>
            </a:r>
          </a:p>
          <a:p>
            <a:pPr marL="285750" indent="-285750">
              <a:buFont typeface="Wingdings" panose="05000000000000000000" pitchFamily="2" charset="2"/>
              <a:buChar char="ü"/>
            </a:pPr>
            <a:r>
              <a:rPr lang="en-US" b="0" dirty="0">
                <a:solidFill>
                  <a:schemeClr val="accent2"/>
                </a:solidFill>
              </a:rPr>
              <a:t>Elasticity:</a:t>
            </a:r>
            <a:r>
              <a:rPr lang="en-US" b="0" dirty="0"/>
              <a:t> Automatically scale resources (and their associated costs) up and down based on demand</a:t>
            </a:r>
          </a:p>
          <a:p>
            <a:pPr marL="285750" indent="-285750">
              <a:buFont typeface="Wingdings" panose="05000000000000000000" pitchFamily="2" charset="2"/>
              <a:buChar char="ü"/>
            </a:pPr>
            <a:r>
              <a:rPr lang="en-US" b="0" dirty="0">
                <a:solidFill>
                  <a:schemeClr val="accent2"/>
                </a:solidFill>
              </a:rPr>
              <a:t>Auto-recovery</a:t>
            </a:r>
            <a:r>
              <a:rPr lang="en-US" b="0" dirty="0"/>
              <a:t>: Resources are designed to recover from failures without intervention, and with minimal impact on service availability.</a:t>
            </a:r>
          </a:p>
          <a:p>
            <a:pPr marL="285750" indent="-285750">
              <a:buFont typeface="Arial" panose="020B0604020202020204" pitchFamily="34" charset="0"/>
              <a:buChar char="•"/>
            </a:pPr>
            <a:endParaRPr lang="en-US" b="0" dirty="0">
              <a:solidFill>
                <a:schemeClr val="accent2"/>
              </a:solidFill>
            </a:endParaRPr>
          </a:p>
        </p:txBody>
      </p:sp>
      <p:sp>
        <p:nvSpPr>
          <p:cNvPr id="4" name="Content Placeholder 3">
            <a:extLst>
              <a:ext uri="{FF2B5EF4-FFF2-40B4-BE49-F238E27FC236}">
                <a16:creationId xmlns:a16="http://schemas.microsoft.com/office/drawing/2014/main" id="{39701C88-A664-4435-A6E3-1D28C101D72B}"/>
              </a:ext>
            </a:extLst>
          </p:cNvPr>
          <p:cNvSpPr>
            <a:spLocks noGrp="1"/>
          </p:cNvSpPr>
          <p:nvPr>
            <p:ph sz="half" idx="10"/>
          </p:nvPr>
        </p:nvSpPr>
        <p:spPr>
          <a:xfrm>
            <a:off x="6395593" y="2129851"/>
            <a:ext cx="5623582" cy="5090468"/>
          </a:xfrm>
        </p:spPr>
        <p:txBody>
          <a:bodyPr/>
          <a:lstStyle/>
          <a:p>
            <a:pPr marL="285750" indent="-285750">
              <a:buFont typeface="Wingdings" panose="05000000000000000000" pitchFamily="2" charset="2"/>
              <a:buChar char="ü"/>
            </a:pPr>
            <a:r>
              <a:rPr lang="en-US" b="0" dirty="0">
                <a:solidFill>
                  <a:schemeClr val="accent2"/>
                </a:solidFill>
              </a:rPr>
              <a:t>Immutable deployment </a:t>
            </a:r>
            <a:r>
              <a:rPr lang="en-US" b="0" dirty="0"/>
              <a:t>— e.g. container image based deployment</a:t>
            </a:r>
          </a:p>
          <a:p>
            <a:pPr marL="285750" indent="-285750">
              <a:buFont typeface="Wingdings" panose="05000000000000000000" pitchFamily="2" charset="2"/>
              <a:buChar char="ü"/>
            </a:pPr>
            <a:r>
              <a:rPr lang="en-US" b="0" dirty="0">
                <a:solidFill>
                  <a:schemeClr val="accent2"/>
                </a:solidFill>
              </a:rPr>
              <a:t>Declarative provisioning </a:t>
            </a:r>
            <a:r>
              <a:rPr lang="en-US" b="0" dirty="0"/>
              <a:t>— Infrastructure as Code (</a:t>
            </a:r>
            <a:r>
              <a:rPr lang="en-US" b="0" dirty="0" err="1"/>
              <a:t>IaC</a:t>
            </a:r>
            <a:r>
              <a:rPr lang="en-US" b="0" dirty="0"/>
              <a:t>) providing a to-be state</a:t>
            </a:r>
          </a:p>
          <a:p>
            <a:pPr marL="285750" indent="-285750">
              <a:buFont typeface="Wingdings" panose="05000000000000000000" pitchFamily="2" charset="2"/>
              <a:buChar char="ü"/>
            </a:pPr>
            <a:r>
              <a:rPr lang="en-US" b="0" dirty="0">
                <a:solidFill>
                  <a:schemeClr val="accent2"/>
                </a:solidFill>
              </a:rPr>
              <a:t>Runtime agnostic </a:t>
            </a:r>
            <a:r>
              <a:rPr lang="en-US" b="0" dirty="0"/>
              <a:t>— The platform sees components (e.g. containers) as black boxes, with no need to understand their contents</a:t>
            </a:r>
          </a:p>
          <a:p>
            <a:pPr marL="285750" indent="-285750">
              <a:buFont typeface="Wingdings" panose="05000000000000000000" pitchFamily="2" charset="2"/>
              <a:buChar char="ü"/>
            </a:pPr>
            <a:r>
              <a:rPr lang="en-US" b="0" dirty="0">
                <a:solidFill>
                  <a:schemeClr val="accent2"/>
                </a:solidFill>
              </a:rPr>
              <a:t>Component orchestration </a:t>
            </a:r>
            <a:r>
              <a:rPr lang="en-US" b="0" dirty="0"/>
              <a:t>— Enable management (monitoring, scaling, availability, routing etc.) through generic declarative policy and provisioning.</a:t>
            </a:r>
          </a:p>
          <a:p>
            <a:pPr marL="285750" indent="-285750">
              <a:buFont typeface="Arial" panose="020B0604020202020204" pitchFamily="34" charset="0"/>
              <a:buChar char="•"/>
            </a:pPr>
            <a:endParaRPr lang="en-US" dirty="0"/>
          </a:p>
        </p:txBody>
      </p:sp>
      <p:sp>
        <p:nvSpPr>
          <p:cNvPr id="6" name="Rectangle 5">
            <a:extLst>
              <a:ext uri="{FF2B5EF4-FFF2-40B4-BE49-F238E27FC236}">
                <a16:creationId xmlns:a16="http://schemas.microsoft.com/office/drawing/2014/main" id="{765C8A17-4138-4FFC-BF9C-9534159DAF65}"/>
              </a:ext>
            </a:extLst>
          </p:cNvPr>
          <p:cNvSpPr/>
          <p:nvPr/>
        </p:nvSpPr>
        <p:spPr>
          <a:xfrm>
            <a:off x="448599" y="1090341"/>
            <a:ext cx="11299453" cy="923330"/>
          </a:xfrm>
          <a:prstGeom prst="rect">
            <a:avLst/>
          </a:prstGeom>
        </p:spPr>
        <p:txBody>
          <a:bodyPr wrap="square">
            <a:spAutoFit/>
          </a:bodyPr>
          <a:lstStyle/>
          <a:p>
            <a:r>
              <a:rPr lang="en-US" i="1" dirty="0">
                <a:solidFill>
                  <a:schemeClr val="tx2"/>
                </a:solidFill>
              </a:rPr>
              <a:t>As cloud platforms and concepts have matured, the cloud in cloud native implies a greater </a:t>
            </a:r>
            <a:r>
              <a:rPr lang="en-US" i="1" dirty="0">
                <a:solidFill>
                  <a:schemeClr val="accent2"/>
                </a:solidFill>
              </a:rPr>
              <a:t>abstraction</a:t>
            </a:r>
            <a:r>
              <a:rPr lang="en-US" i="1" dirty="0">
                <a:solidFill>
                  <a:schemeClr val="tx2"/>
                </a:solidFill>
              </a:rPr>
              <a:t> from the underlying infrastructure.</a:t>
            </a:r>
          </a:p>
          <a:p>
            <a:endParaRPr lang="en-US" i="1" dirty="0">
              <a:solidFill>
                <a:schemeClr val="tx2"/>
              </a:solidFill>
            </a:endParaRPr>
          </a:p>
        </p:txBody>
      </p:sp>
    </p:spTree>
    <p:extLst>
      <p:ext uri="{BB962C8B-B14F-4D97-AF65-F5344CB8AC3E}">
        <p14:creationId xmlns:p14="http://schemas.microsoft.com/office/powerpoint/2010/main" val="3709151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D2355-18CD-492B-9CF1-09E01E2B7F13}"/>
              </a:ext>
            </a:extLst>
          </p:cNvPr>
          <p:cNvSpPr>
            <a:spLocks noGrp="1"/>
          </p:cNvSpPr>
          <p:nvPr>
            <p:ph type="title"/>
          </p:nvPr>
        </p:nvSpPr>
        <p:spPr/>
        <p:txBody>
          <a:bodyPr/>
          <a:lstStyle/>
          <a:p>
            <a:r>
              <a:rPr lang="en-US" dirty="0"/>
              <a:t>Cloud Native: </a:t>
            </a:r>
            <a:r>
              <a:rPr lang="en-US" dirty="0">
                <a:solidFill>
                  <a:schemeClr val="accent1"/>
                </a:solidFill>
              </a:rPr>
              <a:t>Architecture and Design</a:t>
            </a:r>
          </a:p>
        </p:txBody>
      </p:sp>
      <p:graphicFrame>
        <p:nvGraphicFramePr>
          <p:cNvPr id="8" name="Content Placeholder 7">
            <a:extLst>
              <a:ext uri="{FF2B5EF4-FFF2-40B4-BE49-F238E27FC236}">
                <a16:creationId xmlns:a16="http://schemas.microsoft.com/office/drawing/2014/main" id="{21AE6F85-A79E-47AA-B7F7-FCE4B2193B04}"/>
              </a:ext>
            </a:extLst>
          </p:cNvPr>
          <p:cNvGraphicFramePr>
            <a:graphicFrameLocks noGrp="1"/>
          </p:cNvGraphicFramePr>
          <p:nvPr>
            <p:ph sz="half" idx="1"/>
            <p:extLst>
              <p:ext uri="{D42A27DB-BD31-4B8C-83A1-F6EECF244321}">
                <p14:modId xmlns:p14="http://schemas.microsoft.com/office/powerpoint/2010/main" val="3064477546"/>
              </p:ext>
            </p:extLst>
          </p:nvPr>
        </p:nvGraphicFramePr>
        <p:xfrm>
          <a:off x="855212" y="1008668"/>
          <a:ext cx="10481575" cy="57577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a:extLst>
              <a:ext uri="{FF2B5EF4-FFF2-40B4-BE49-F238E27FC236}">
                <a16:creationId xmlns:a16="http://schemas.microsoft.com/office/drawing/2014/main" id="{765C8A17-4138-4FFC-BF9C-9534159DAF65}"/>
              </a:ext>
            </a:extLst>
          </p:cNvPr>
          <p:cNvSpPr/>
          <p:nvPr/>
        </p:nvSpPr>
        <p:spPr>
          <a:xfrm>
            <a:off x="448599" y="1090341"/>
            <a:ext cx="11299453" cy="1200329"/>
          </a:xfrm>
          <a:prstGeom prst="rect">
            <a:avLst/>
          </a:prstGeom>
        </p:spPr>
        <p:txBody>
          <a:bodyPr wrap="square">
            <a:spAutoFit/>
          </a:bodyPr>
          <a:lstStyle/>
          <a:p>
            <a:r>
              <a:rPr lang="en-US" i="1" dirty="0">
                <a:solidFill>
                  <a:schemeClr val="tx2"/>
                </a:solidFill>
              </a:rPr>
              <a:t>Designing our solutions to ensure, that they can </a:t>
            </a:r>
            <a:r>
              <a:rPr lang="en-US" i="1" dirty="0">
                <a:solidFill>
                  <a:schemeClr val="accent2"/>
                </a:solidFill>
              </a:rPr>
              <a:t>scale</a:t>
            </a:r>
            <a:r>
              <a:rPr lang="en-US" i="1" dirty="0">
                <a:solidFill>
                  <a:schemeClr val="tx2"/>
                </a:solidFill>
              </a:rPr>
              <a:t> horizontally, and that they can work with the </a:t>
            </a:r>
            <a:r>
              <a:rPr lang="en-US" i="1" dirty="0">
                <a:solidFill>
                  <a:schemeClr val="accent2"/>
                </a:solidFill>
              </a:rPr>
              <a:t>auto-recovery</a:t>
            </a:r>
            <a:r>
              <a:rPr lang="en-US" i="1" dirty="0">
                <a:solidFill>
                  <a:schemeClr val="tx2"/>
                </a:solidFill>
              </a:rPr>
              <a:t> mechanism. It is here that cloud-native overlaps most with microservices concepts. </a:t>
            </a:r>
          </a:p>
          <a:p>
            <a:r>
              <a:rPr lang="en-US" i="1" dirty="0">
                <a:solidFill>
                  <a:schemeClr val="tx2"/>
                </a:solidFill>
              </a:rPr>
              <a:t>This includes for example writing components that:</a:t>
            </a:r>
          </a:p>
          <a:p>
            <a:endParaRPr lang="en-US" i="1" dirty="0">
              <a:solidFill>
                <a:schemeClr val="tx2"/>
              </a:solidFill>
            </a:endParaRPr>
          </a:p>
        </p:txBody>
      </p:sp>
      <p:sp>
        <p:nvSpPr>
          <p:cNvPr id="7" name="Rectangle 6">
            <a:extLst>
              <a:ext uri="{FF2B5EF4-FFF2-40B4-BE49-F238E27FC236}">
                <a16:creationId xmlns:a16="http://schemas.microsoft.com/office/drawing/2014/main" id="{E066831C-690A-47D6-8203-083462CAFF73}"/>
              </a:ext>
            </a:extLst>
          </p:cNvPr>
          <p:cNvSpPr/>
          <p:nvPr/>
        </p:nvSpPr>
        <p:spPr>
          <a:xfrm>
            <a:off x="557213" y="5616827"/>
            <a:ext cx="11299453" cy="923330"/>
          </a:xfrm>
          <a:prstGeom prst="rect">
            <a:avLst/>
          </a:prstGeom>
        </p:spPr>
        <p:txBody>
          <a:bodyPr wrap="square">
            <a:spAutoFit/>
          </a:bodyPr>
          <a:lstStyle/>
          <a:p>
            <a:r>
              <a:rPr lang="en-US" b="1" i="1" dirty="0">
                <a:solidFill>
                  <a:schemeClr val="accent2"/>
                </a:solidFill>
              </a:rPr>
              <a:t>*</a:t>
            </a:r>
            <a:r>
              <a:rPr lang="en-US" i="1" dirty="0">
                <a:solidFill>
                  <a:schemeClr val="tx2"/>
                </a:solidFill>
              </a:rPr>
              <a:t>But, each of these decisions comes with corresponding </a:t>
            </a:r>
            <a:r>
              <a:rPr lang="en-US" i="1" dirty="0">
                <a:solidFill>
                  <a:schemeClr val="accent2"/>
                </a:solidFill>
              </a:rPr>
              <a:t>process and organizational decisions </a:t>
            </a:r>
            <a:r>
              <a:rPr lang="en-US" i="1" dirty="0">
                <a:solidFill>
                  <a:schemeClr val="tx2"/>
                </a:solidFill>
              </a:rPr>
              <a:t>needed to support the technology decisions. </a:t>
            </a:r>
          </a:p>
          <a:p>
            <a:endParaRPr lang="en-US" i="1" dirty="0">
              <a:solidFill>
                <a:schemeClr val="tx2"/>
              </a:solidFill>
            </a:endParaRPr>
          </a:p>
        </p:txBody>
      </p:sp>
    </p:spTree>
    <p:extLst>
      <p:ext uri="{BB962C8B-B14F-4D97-AF65-F5344CB8AC3E}">
        <p14:creationId xmlns:p14="http://schemas.microsoft.com/office/powerpoint/2010/main" val="42047281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D2355-18CD-492B-9CF1-09E01E2B7F13}"/>
              </a:ext>
            </a:extLst>
          </p:cNvPr>
          <p:cNvSpPr>
            <a:spLocks noGrp="1"/>
          </p:cNvSpPr>
          <p:nvPr>
            <p:ph type="title"/>
          </p:nvPr>
        </p:nvSpPr>
        <p:spPr/>
        <p:txBody>
          <a:bodyPr/>
          <a:lstStyle/>
          <a:p>
            <a:r>
              <a:rPr lang="en-US" dirty="0"/>
              <a:t>Cloud Native: </a:t>
            </a:r>
            <a:r>
              <a:rPr lang="en-US" dirty="0">
                <a:solidFill>
                  <a:schemeClr val="accent1"/>
                </a:solidFill>
              </a:rPr>
              <a:t>People and Processes</a:t>
            </a:r>
          </a:p>
        </p:txBody>
      </p:sp>
      <p:sp>
        <p:nvSpPr>
          <p:cNvPr id="3" name="Content Placeholder 2">
            <a:extLst>
              <a:ext uri="{FF2B5EF4-FFF2-40B4-BE49-F238E27FC236}">
                <a16:creationId xmlns:a16="http://schemas.microsoft.com/office/drawing/2014/main" id="{EE1E7389-1C96-40E8-87FF-38937D89B34F}"/>
              </a:ext>
            </a:extLst>
          </p:cNvPr>
          <p:cNvSpPr>
            <a:spLocks noGrp="1"/>
          </p:cNvSpPr>
          <p:nvPr>
            <p:ph sz="half" idx="1"/>
          </p:nvPr>
        </p:nvSpPr>
        <p:spPr>
          <a:xfrm>
            <a:off x="557927" y="1696208"/>
            <a:ext cx="5763359" cy="4673026"/>
          </a:xfrm>
        </p:spPr>
        <p:txBody>
          <a:bodyPr/>
          <a:lstStyle/>
          <a:p>
            <a:r>
              <a:rPr lang="en-US" dirty="0">
                <a:solidFill>
                  <a:schemeClr val="accent2"/>
                </a:solidFill>
              </a:rPr>
              <a:t>Implications from a microservices approach:</a:t>
            </a:r>
            <a:endParaRPr lang="en-US" b="0" dirty="0">
              <a:solidFill>
                <a:schemeClr val="accent2"/>
              </a:solidFill>
            </a:endParaRPr>
          </a:p>
          <a:p>
            <a:pPr marL="285750" lvl="0" indent="-285750">
              <a:buFont typeface="Wingdings" panose="05000000000000000000" pitchFamily="2" charset="2"/>
              <a:buChar char="ü"/>
            </a:pPr>
            <a:r>
              <a:rPr lang="en-US" b="0" dirty="0"/>
              <a:t>Build your services in small, autonomous teams</a:t>
            </a:r>
          </a:p>
          <a:p>
            <a:pPr marL="285750" lvl="0" indent="-285750">
              <a:buFont typeface="Wingdings" panose="05000000000000000000" pitchFamily="2" charset="2"/>
              <a:buChar char="ü"/>
            </a:pPr>
            <a:r>
              <a:rPr lang="en-US" b="0" dirty="0"/>
              <a:t>Use agile methods and apply </a:t>
            </a:r>
            <a:r>
              <a:rPr lang="en-US" b="0" dirty="0" err="1"/>
              <a:t>DevSecOps</a:t>
            </a:r>
            <a:r>
              <a:rPr lang="en-US" b="0" dirty="0"/>
              <a:t> principles to all development processes -&gt; gain the E2E feedback on delivery + continuous integration and continuous delivery/deployment (CI/CD))</a:t>
            </a:r>
          </a:p>
          <a:p>
            <a:pPr marL="285750" lvl="0" indent="-285750">
              <a:buFont typeface="Wingdings" panose="05000000000000000000" pitchFamily="2" charset="2"/>
              <a:buChar char="ü"/>
            </a:pPr>
            <a:r>
              <a:rPr lang="en-US" b="0" dirty="0"/>
              <a:t>DevOps requires you to adopt automated testing, test driven development, and strongly leads you toward trunk-based development. The desire to minimize testing cycles might further lead you to explore changing the way you align people to work</a:t>
            </a:r>
          </a:p>
          <a:p>
            <a:pPr marL="285750" indent="-285750">
              <a:buFont typeface="Arial" panose="020B0604020202020204" pitchFamily="34" charset="0"/>
              <a:buChar char="•"/>
            </a:pPr>
            <a:endParaRPr lang="en-US" b="0" dirty="0">
              <a:solidFill>
                <a:schemeClr val="accent2"/>
              </a:solidFill>
            </a:endParaRPr>
          </a:p>
        </p:txBody>
      </p:sp>
      <p:sp>
        <p:nvSpPr>
          <p:cNvPr id="4" name="Content Placeholder 3">
            <a:extLst>
              <a:ext uri="{FF2B5EF4-FFF2-40B4-BE49-F238E27FC236}">
                <a16:creationId xmlns:a16="http://schemas.microsoft.com/office/drawing/2014/main" id="{39701C88-A664-4435-A6E3-1D28C101D72B}"/>
              </a:ext>
            </a:extLst>
          </p:cNvPr>
          <p:cNvSpPr>
            <a:spLocks noGrp="1"/>
          </p:cNvSpPr>
          <p:nvPr>
            <p:ph sz="half" idx="10"/>
          </p:nvPr>
        </p:nvSpPr>
        <p:spPr>
          <a:xfrm>
            <a:off x="6348458" y="1696209"/>
            <a:ext cx="5680144" cy="5090468"/>
          </a:xfrm>
        </p:spPr>
        <p:txBody>
          <a:bodyPr/>
          <a:lstStyle/>
          <a:p>
            <a:r>
              <a:rPr lang="en-US" dirty="0">
                <a:solidFill>
                  <a:schemeClr val="accent2"/>
                </a:solidFill>
              </a:rPr>
              <a:t>Effect of container technology on required skillsets, roles, and processes:</a:t>
            </a:r>
            <a:endParaRPr lang="en-US" b="0" dirty="0">
              <a:solidFill>
                <a:schemeClr val="accent2"/>
              </a:solidFill>
            </a:endParaRPr>
          </a:p>
          <a:p>
            <a:pPr marL="285750" lvl="0" indent="-285750">
              <a:buFont typeface="Wingdings" panose="05000000000000000000" pitchFamily="2" charset="2"/>
              <a:buChar char="ü"/>
            </a:pPr>
            <a:r>
              <a:rPr lang="en-US" b="0" dirty="0"/>
              <a:t>Cloud infrastructure generally enables more to be achieved operationally using generic cloud platform skills (ex. Kubernetes), rather than specific runtime/product skills</a:t>
            </a:r>
          </a:p>
          <a:p>
            <a:pPr marL="457200" lvl="2" indent="-285750">
              <a:buFont typeface="Courier New" panose="02070309020205020404" pitchFamily="49" charset="0"/>
              <a:buChar char="o"/>
            </a:pPr>
            <a:r>
              <a:rPr lang="en-US" b="0" dirty="0"/>
              <a:t>this reduces the learning curve for people working across multiple technologies and enables broader role and knowledge sharing increasing efficiency and reducing cost</a:t>
            </a:r>
          </a:p>
          <a:p>
            <a:pPr marL="285750" lvl="0" indent="-285750">
              <a:buFont typeface="Wingdings" panose="05000000000000000000" pitchFamily="2" charset="2"/>
              <a:buChar char="ü"/>
            </a:pPr>
            <a:r>
              <a:rPr lang="en-US" b="0" dirty="0"/>
              <a:t>Immutable container images combined with </a:t>
            </a:r>
            <a:r>
              <a:rPr lang="en-US" b="0" dirty="0" err="1"/>
              <a:t>IaC</a:t>
            </a:r>
            <a:r>
              <a:rPr lang="en-US" b="0" dirty="0"/>
              <a:t> increase the consistency of deployment across environments</a:t>
            </a:r>
          </a:p>
          <a:p>
            <a:pPr marL="457200" lvl="2" indent="-285750">
              <a:buFont typeface="Courier New" panose="02070309020205020404" pitchFamily="49" charset="0"/>
              <a:buChar char="o"/>
            </a:pPr>
            <a:r>
              <a:rPr lang="en-US" b="0" dirty="0"/>
              <a:t>leading to shorter build/release cycle time, and increasing productivity</a:t>
            </a:r>
          </a:p>
          <a:p>
            <a:pPr marL="457200" lvl="2" indent="-285750">
              <a:buFont typeface="Courier New" panose="02070309020205020404" pitchFamily="49" charset="0"/>
              <a:buChar char="o"/>
            </a:pPr>
            <a:r>
              <a:rPr lang="en-US" dirty="0"/>
              <a:t>reducing testing / diagnostics costs and downtime</a:t>
            </a:r>
            <a:r>
              <a:rPr lang="en-US" b="0" dirty="0"/>
              <a:t> </a:t>
            </a:r>
          </a:p>
          <a:p>
            <a:pPr marL="285750" indent="-285750">
              <a:buFont typeface="Arial" panose="020B0604020202020204" pitchFamily="34" charset="0"/>
              <a:buChar char="•"/>
            </a:pPr>
            <a:endParaRPr lang="en-US" dirty="0"/>
          </a:p>
        </p:txBody>
      </p:sp>
      <p:sp>
        <p:nvSpPr>
          <p:cNvPr id="6" name="Rectangle 5">
            <a:extLst>
              <a:ext uri="{FF2B5EF4-FFF2-40B4-BE49-F238E27FC236}">
                <a16:creationId xmlns:a16="http://schemas.microsoft.com/office/drawing/2014/main" id="{765C8A17-4138-4FFC-BF9C-9534159DAF65}"/>
              </a:ext>
            </a:extLst>
          </p:cNvPr>
          <p:cNvSpPr/>
          <p:nvPr/>
        </p:nvSpPr>
        <p:spPr>
          <a:xfrm>
            <a:off x="448599" y="939509"/>
            <a:ext cx="11299453" cy="646331"/>
          </a:xfrm>
          <a:prstGeom prst="rect">
            <a:avLst/>
          </a:prstGeom>
        </p:spPr>
        <p:txBody>
          <a:bodyPr wrap="square">
            <a:spAutoFit/>
          </a:bodyPr>
          <a:lstStyle/>
          <a:p>
            <a:r>
              <a:rPr lang="en-US" i="1" dirty="0">
                <a:solidFill>
                  <a:schemeClr val="tx2"/>
                </a:solidFill>
              </a:rPr>
              <a:t>When we work with the above assumptions and decisions about the architecture and underlying infrastructure, it provides us opportunities to radically change the way we handle people and processes. </a:t>
            </a:r>
          </a:p>
        </p:txBody>
      </p:sp>
    </p:spTree>
    <p:extLst>
      <p:ext uri="{BB962C8B-B14F-4D97-AF65-F5344CB8AC3E}">
        <p14:creationId xmlns:p14="http://schemas.microsoft.com/office/powerpoint/2010/main" val="1023531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2A945-E229-47E2-BC86-6752E4AEADE8}"/>
              </a:ext>
            </a:extLst>
          </p:cNvPr>
          <p:cNvSpPr>
            <a:spLocks noGrp="1"/>
          </p:cNvSpPr>
          <p:nvPr>
            <p:ph type="title"/>
          </p:nvPr>
        </p:nvSpPr>
        <p:spPr/>
        <p:txBody>
          <a:bodyPr/>
          <a:lstStyle/>
          <a:p>
            <a:r>
              <a:rPr lang="en-US" dirty="0"/>
              <a:t>How can we adopt a Cloud Native Culture at CVS?</a:t>
            </a:r>
          </a:p>
        </p:txBody>
      </p:sp>
      <p:sp>
        <p:nvSpPr>
          <p:cNvPr id="3" name="Content Placeholder 2">
            <a:extLst>
              <a:ext uri="{FF2B5EF4-FFF2-40B4-BE49-F238E27FC236}">
                <a16:creationId xmlns:a16="http://schemas.microsoft.com/office/drawing/2014/main" id="{917169DB-B556-4406-9CE3-73B84E7E230A}"/>
              </a:ext>
            </a:extLst>
          </p:cNvPr>
          <p:cNvSpPr>
            <a:spLocks noGrp="1"/>
          </p:cNvSpPr>
          <p:nvPr>
            <p:ph idx="1"/>
          </p:nvPr>
        </p:nvSpPr>
        <p:spPr>
          <a:xfrm>
            <a:off x="557929" y="1223442"/>
            <a:ext cx="11247628" cy="5420412"/>
          </a:xfrm>
        </p:spPr>
        <p:txBody>
          <a:bodyPr/>
          <a:lstStyle/>
          <a:p>
            <a:r>
              <a:rPr lang="en-US" sz="1600" b="0" dirty="0"/>
              <a:t>We need to take steps to make this a reality. These techniques can be applied incrementally as appropriate </a:t>
            </a:r>
          </a:p>
          <a:p>
            <a:pPr marL="285750" indent="-285750">
              <a:buFont typeface="Arial" panose="020B0604020202020204" pitchFamily="34" charset="0"/>
              <a:buChar char="•"/>
            </a:pPr>
            <a:r>
              <a:rPr lang="en-US" sz="1600" dirty="0">
                <a:solidFill>
                  <a:srgbClr val="FF0000"/>
                </a:solidFill>
              </a:rPr>
              <a:t>How can we empower people and teams? How can we enable a self-service model?</a:t>
            </a:r>
          </a:p>
          <a:p>
            <a:pPr marL="285750" indent="-285750">
              <a:buFont typeface="Arial" panose="020B0604020202020204" pitchFamily="34" charset="0"/>
              <a:buChar char="•"/>
            </a:pPr>
            <a:r>
              <a:rPr lang="en-US" sz="1600" dirty="0">
                <a:solidFill>
                  <a:srgbClr val="FF0000"/>
                </a:solidFill>
              </a:rPr>
              <a:t>How can we make Sandbox environments available to teams for learning / testing? How do we balance the pressure of deadlines with the need to ramp up and mature our teams?</a:t>
            </a:r>
          </a:p>
          <a:p>
            <a:pPr marL="285750" indent="-285750">
              <a:buFont typeface="Arial" panose="020B0604020202020204" pitchFamily="34" charset="0"/>
              <a:buChar char="•"/>
            </a:pPr>
            <a:r>
              <a:rPr lang="en-US" sz="1600" dirty="0">
                <a:solidFill>
                  <a:srgbClr val="FF0000"/>
                </a:solidFill>
              </a:rPr>
              <a:t>How can streamline our E2E processes and move towards a more agile approach? </a:t>
            </a:r>
          </a:p>
          <a:p>
            <a:pPr marL="285750" indent="-285750">
              <a:buFont typeface="Arial" panose="020B0604020202020204" pitchFamily="34" charset="0"/>
              <a:buChar char="•"/>
            </a:pPr>
            <a:r>
              <a:rPr lang="en-US" sz="1600" dirty="0">
                <a:solidFill>
                  <a:srgbClr val="FF0000"/>
                </a:solidFill>
              </a:rPr>
              <a:t>How does automation look like?</a:t>
            </a:r>
          </a:p>
          <a:p>
            <a:pPr marL="285750" indent="-285750">
              <a:buFont typeface="Arial" panose="020B0604020202020204" pitchFamily="34" charset="0"/>
              <a:buChar char="•"/>
            </a:pPr>
            <a:r>
              <a:rPr lang="en-US" sz="1600" dirty="0">
                <a:solidFill>
                  <a:srgbClr val="FF0000"/>
                </a:solidFill>
              </a:rPr>
              <a:t>How can we create a new Greenfield SDLC that adopts a Cloud Native approach in practice?</a:t>
            </a:r>
          </a:p>
          <a:p>
            <a:pPr marL="285750" indent="-285750">
              <a:buFont typeface="Arial" panose="020B0604020202020204" pitchFamily="34" charset="0"/>
              <a:buChar char="•"/>
            </a:pPr>
            <a:r>
              <a:rPr lang="en-US" sz="1600" dirty="0">
                <a:solidFill>
                  <a:srgbClr val="FF0000"/>
                </a:solidFill>
              </a:rPr>
              <a:t>Can we make any gradual changes to Brownfield SDLC to be more agile? </a:t>
            </a:r>
          </a:p>
          <a:p>
            <a:pPr marL="285750" indent="-285750">
              <a:buFont typeface="Arial" panose="020B0604020202020204" pitchFamily="34" charset="0"/>
              <a:buChar char="•"/>
            </a:pPr>
            <a:r>
              <a:rPr lang="en-US" sz="1600" dirty="0">
                <a:solidFill>
                  <a:srgbClr val="FF0000"/>
                </a:solidFill>
              </a:rPr>
              <a:t>What is feasible and practical as of today and how would we develop an architectural runway to make this possible?</a:t>
            </a:r>
          </a:p>
          <a:p>
            <a:endParaRPr lang="en-US" dirty="0">
              <a:solidFill>
                <a:srgbClr val="FF0000"/>
              </a:solidFill>
            </a:endParaRPr>
          </a:p>
        </p:txBody>
      </p:sp>
    </p:spTree>
    <p:extLst>
      <p:ext uri="{BB962C8B-B14F-4D97-AF65-F5344CB8AC3E}">
        <p14:creationId xmlns:p14="http://schemas.microsoft.com/office/powerpoint/2010/main" val="4291523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San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TAI Architecture North Star Template with Insructions v2" id="{6A1DA68F-3A77-CB41-B179-AEC04A938B6D}" vid="{0C8790E0-6D20-0849-93CB-BFDAA7E36C8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A4C5460-6341-4A06-8926-FDDA58E91623}">
  <ds:schemaRefs>
    <ds:schemaRef ds:uri="http://schemas.microsoft.com/sharepoint/v3/contenttype/forms"/>
  </ds:schemaRefs>
</ds:datastoreItem>
</file>

<file path=customXml/itemProps2.xml><?xml version="1.0" encoding="utf-8"?>
<ds:datastoreItem xmlns:ds="http://schemas.openxmlformats.org/officeDocument/2006/customXml" ds:itemID="{B24F0FD7-590D-477C-84D8-04F64A55F94D}">
  <ds:schemaRefs>
    <ds:schemaRef ds:uri="http://schemas.microsoft.com/office/2006/documentManagement/types"/>
    <ds:schemaRef ds:uri="http://schemas.microsoft.com/office/infopath/2007/PartnerControls"/>
    <ds:schemaRef ds:uri="b216bb44-94d9-4aad-b52f-482287135a2b"/>
    <ds:schemaRef ds:uri="http://purl.org/dc/elements/1.1/"/>
    <ds:schemaRef ds:uri="http://schemas.microsoft.com/office/2006/metadata/properties"/>
    <ds:schemaRef ds:uri="http://purl.org/dc/terms/"/>
    <ds:schemaRef ds:uri="http://schemas.openxmlformats.org/package/2006/metadata/core-properties"/>
    <ds:schemaRef ds:uri="9f59af0f-e169-4faf-bff3-ab7a3b9bf6ce"/>
    <ds:schemaRef ds:uri="http://www.w3.org/XML/1998/namespace"/>
    <ds:schemaRef ds:uri="http://purl.org/dc/dcmitype/"/>
    <ds:schemaRef ds:uri="b1cf5257-8992-498b-aff9-2ccb2706890d"/>
    <ds:schemaRef ds:uri="f8f3ac21-d33a-4f17-9d4e-9f9f14b93e81"/>
  </ds:schemaRefs>
</ds:datastoreItem>
</file>

<file path=customXml/itemProps3.xml><?xml version="1.0" encoding="utf-8"?>
<ds:datastoreItem xmlns:ds="http://schemas.openxmlformats.org/officeDocument/2006/customXml" ds:itemID="{37D6C2E1-AF5F-49F3-82AB-1E13DC417E2B}"/>
</file>

<file path=docProps/app.xml><?xml version="1.0" encoding="utf-8"?>
<Properties xmlns="http://schemas.openxmlformats.org/officeDocument/2006/extended-properties" xmlns:vt="http://schemas.openxmlformats.org/officeDocument/2006/docPropsVTypes">
  <Template>TAI Architecture North Star Template with Insructions</Template>
  <TotalTime>12211</TotalTime>
  <Words>1159</Words>
  <Application>Microsoft Office PowerPoint</Application>
  <PresentationFormat>Widescreen</PresentationFormat>
  <Paragraphs>82</Paragraphs>
  <Slides>11</Slides>
  <Notes>2</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CVS_Health_PPT_Everyday_Widescreen_Template</vt:lpstr>
      <vt:lpstr>Cloud Native Culture- PoV</vt:lpstr>
      <vt:lpstr>Business Opportunity</vt:lpstr>
      <vt:lpstr>What is Cloud Native? With so many definitions out there, it is difficult to align on a definition and scope </vt:lpstr>
      <vt:lpstr>What do we mean by a Cloud Native Culture?</vt:lpstr>
      <vt:lpstr>Technology alone cannot attain business outcomes We need an alignment between IT Goals and Business Outcomes</vt:lpstr>
      <vt:lpstr>Cloud Native: Infrastructure</vt:lpstr>
      <vt:lpstr>Cloud Native: Architecture and Design</vt:lpstr>
      <vt:lpstr>Cloud Native: People and Processes</vt:lpstr>
      <vt:lpstr>How can we adopt a Cloud Native Culture at CVS?</vt:lpstr>
      <vt:lpstr>Next Steps</vt:lpstr>
      <vt:lpstr>Into Ac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North Star</dc:title>
  <dc:creator>Perez Diaz, Karen</dc:creator>
  <cp:lastModifiedBy>Perez Diaz, Karen</cp:lastModifiedBy>
  <cp:revision>7</cp:revision>
  <cp:lastPrinted>2019-07-30T11:49:09Z</cp:lastPrinted>
  <dcterms:created xsi:type="dcterms:W3CDTF">2020-11-20T20:01:29Z</dcterms:created>
  <dcterms:modified xsi:type="dcterms:W3CDTF">2021-10-27T21:0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SetDate">
    <vt:lpwstr>2018-12-11T13:43:06.3238854Z</vt:lpwstr>
  </property>
  <property fmtid="{D5CDD505-2E9C-101B-9397-08002B2CF9AE}" pid="6" name="MSIP_Label_67599526-06ca-49cc-9fa9-5307800a949a_Name">
    <vt:lpwstr>Proprietary</vt:lpwstr>
  </property>
  <property fmtid="{D5CDD505-2E9C-101B-9397-08002B2CF9AE}" pid="7" name="MSIP_Label_67599526-06ca-49cc-9fa9-5307800a949a_Extended_MSFT_Method">
    <vt:lpwstr>Automatic</vt:lpwstr>
  </property>
  <property fmtid="{D5CDD505-2E9C-101B-9397-08002B2CF9AE}" pid="8" name="Sensitivity">
    <vt:lpwstr>Proprietary</vt:lpwstr>
  </property>
  <property fmtid="{D5CDD505-2E9C-101B-9397-08002B2CF9AE}" pid="9" name="UnilyDocumentCategory">
    <vt:lpwstr/>
  </property>
  <property fmtid="{D5CDD505-2E9C-101B-9397-08002B2CF9AE}" pid="10" name="ClassificationContentMarkingFooterLocations">
    <vt:lpwstr>CVS_Health_PPT_Everyday_Widescreen_Template:5</vt:lpwstr>
  </property>
  <property fmtid="{D5CDD505-2E9C-101B-9397-08002B2CF9AE}" pid="11" name="ClassificationContentMarkingFooterText">
    <vt:lpwstr>Proprietary</vt:lpwstr>
  </property>
  <property fmtid="{D5CDD505-2E9C-101B-9397-08002B2CF9AE}" pid="12" name="ItemStatus">
    <vt:lpwstr/>
  </property>
</Properties>
</file>